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4"/>
  </p:sldMasterIdLst>
  <p:notesMasterIdLst>
    <p:notesMasterId r:id="rId21"/>
  </p:notesMasterIdLst>
  <p:sldIdLst>
    <p:sldId id="348" r:id="rId5"/>
    <p:sldId id="883" r:id="rId6"/>
    <p:sldId id="736" r:id="rId7"/>
    <p:sldId id="885" r:id="rId8"/>
    <p:sldId id="884" r:id="rId9"/>
    <p:sldId id="764" r:id="rId10"/>
    <p:sldId id="730" r:id="rId11"/>
    <p:sldId id="786" r:id="rId12"/>
    <p:sldId id="875" r:id="rId13"/>
    <p:sldId id="860" r:id="rId14"/>
    <p:sldId id="879" r:id="rId15"/>
    <p:sldId id="862" r:id="rId16"/>
    <p:sldId id="791" r:id="rId17"/>
    <p:sldId id="873" r:id="rId18"/>
    <p:sldId id="792" r:id="rId19"/>
    <p:sldId id="745" r:id="rId20"/>
  </p:sldIdLst>
  <p:sldSz cx="12192000" cy="6858000"/>
  <p:notesSz cx="6985000" cy="92837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mos, Catherine" initials="CR" lastIdx="2" clrIdx="0"/>
  <p:cmAuthor id="2" name="Ahrendsen, Anne" initials="AA" lastIdx="8" clrIdx="1">
    <p:extLst>
      <p:ext uri="{19B8F6BF-5375-455C-9EA6-DF929625EA0E}">
        <p15:presenceInfo xmlns:p15="http://schemas.microsoft.com/office/powerpoint/2012/main" userId="Ahrendsen, Anne" providerId="None"/>
      </p:ext>
    </p:extLst>
  </p:cmAuthor>
  <p:cmAuthor id="3" name="Transportation Security Administration" initials="TSA" lastIdx="3" clrIdx="2">
    <p:extLst>
      <p:ext uri="{19B8F6BF-5375-455C-9EA6-DF929625EA0E}">
        <p15:presenceInfo xmlns:p15="http://schemas.microsoft.com/office/powerpoint/2012/main" userId="Transportation Security Administration" providerId="None"/>
      </p:ext>
    </p:extLst>
  </p:cmAuthor>
  <p:cmAuthor id="4" name="Giles, Claudia Lee (US - Arlington)" initials="GCL(-A" lastIdx="2" clrIdx="3">
    <p:extLst>
      <p:ext uri="{19B8F6BF-5375-455C-9EA6-DF929625EA0E}">
        <p15:presenceInfo xmlns:p15="http://schemas.microsoft.com/office/powerpoint/2012/main" userId="e6a3f10e-3c8d-45d3-82ff-99d074fdb5c6" providerId="Windows Live"/>
      </p:ext>
    </p:extLst>
  </p:cmAuthor>
  <p:cmAuthor id="5" name="Duru, Bridget (US - Arlington)" initials="DB(-A" lastIdx="12" clrIdx="4">
    <p:extLst>
      <p:ext uri="{19B8F6BF-5375-455C-9EA6-DF929625EA0E}">
        <p15:presenceInfo xmlns:p15="http://schemas.microsoft.com/office/powerpoint/2012/main" userId="S-1-5-21-238447276-1040861923-1850952788-2257215" providerId="AD"/>
      </p:ext>
    </p:extLst>
  </p:cmAuthor>
  <p:cmAuthor id="6" name="McKee, Charles G (CTR)" initials="MCG(" lastIdx="7" clrIdx="5">
    <p:extLst>
      <p:ext uri="{19B8F6BF-5375-455C-9EA6-DF929625EA0E}">
        <p15:presenceInfo xmlns:p15="http://schemas.microsoft.com/office/powerpoint/2012/main" userId="S-1-5-21-343818398-839522115-725345543-54755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D23AB9"/>
    <a:srgbClr val="3333FF"/>
    <a:srgbClr val="339933"/>
    <a:srgbClr val="00CC66"/>
    <a:srgbClr val="9966FF"/>
    <a:srgbClr val="1F497D"/>
    <a:srgbClr val="4F81BD"/>
    <a:srgbClr val="000000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86" autoAdjust="0"/>
    <p:restoredTop sz="77297" autoAdjust="0"/>
  </p:normalViewPr>
  <p:slideViewPr>
    <p:cSldViewPr>
      <p:cViewPr varScale="1">
        <p:scale>
          <a:sx n="100" d="100"/>
          <a:sy n="100" d="100"/>
        </p:scale>
        <p:origin x="1680" y="1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45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9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26833" cy="465797"/>
          </a:xfrm>
          <a:prstGeom prst="rect">
            <a:avLst/>
          </a:prstGeom>
        </p:spPr>
        <p:txBody>
          <a:bodyPr vert="horz" lIns="92919" tIns="46459" rIns="92919" bIns="4645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3" y="2"/>
            <a:ext cx="3026833" cy="465797"/>
          </a:xfrm>
          <a:prstGeom prst="rect">
            <a:avLst/>
          </a:prstGeom>
        </p:spPr>
        <p:txBody>
          <a:bodyPr vert="horz" lIns="92919" tIns="46459" rIns="92919" bIns="46459" rtlCol="0"/>
          <a:lstStyle>
            <a:lvl1pPr algn="r">
              <a:defRPr sz="1200"/>
            </a:lvl1pPr>
          </a:lstStyle>
          <a:p>
            <a:fld id="{4643C0DB-3837-40AD-99E3-650EB20F7015}" type="datetimeFigureOut">
              <a:rPr lang="en-US" smtClean="0"/>
              <a:t>9/22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1160463"/>
            <a:ext cx="5565775" cy="3132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19" tIns="46459" rIns="92919" bIns="4645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67780"/>
            <a:ext cx="5588000" cy="3655457"/>
          </a:xfrm>
          <a:prstGeom prst="rect">
            <a:avLst/>
          </a:prstGeom>
        </p:spPr>
        <p:txBody>
          <a:bodyPr vert="horz" lIns="92919" tIns="46459" rIns="92919" bIns="4645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17905"/>
            <a:ext cx="3026833" cy="465796"/>
          </a:xfrm>
          <a:prstGeom prst="rect">
            <a:avLst/>
          </a:prstGeom>
        </p:spPr>
        <p:txBody>
          <a:bodyPr vert="horz" lIns="92919" tIns="46459" rIns="92919" bIns="4645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3" y="8817905"/>
            <a:ext cx="3026833" cy="465796"/>
          </a:xfrm>
          <a:prstGeom prst="rect">
            <a:avLst/>
          </a:prstGeom>
        </p:spPr>
        <p:txBody>
          <a:bodyPr vert="horz" lIns="92919" tIns="46459" rIns="92919" bIns="46459" rtlCol="0" anchor="b"/>
          <a:lstStyle>
            <a:lvl1pPr algn="r">
              <a:defRPr sz="1200"/>
            </a:lvl1pPr>
          </a:lstStyle>
          <a:p>
            <a:fld id="{C9E4CA06-00FE-480B-B83C-7A5D3BA8EDF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4049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09613" y="1160463"/>
            <a:ext cx="5565775" cy="31321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Pre-decisional not for distribu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C98C56F-31B9-4654-925F-93F9605A1C4F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1554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* indicates statistically</a:t>
            </a:r>
            <a:r>
              <a:rPr lang="en-US" sz="1400" baseline="0" dirty="0"/>
              <a:t> </a:t>
            </a:r>
            <a:r>
              <a:rPr lang="en-US" sz="1400" dirty="0"/>
              <a:t>significant differe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Graph</a:t>
            </a:r>
            <a:r>
              <a:rPr lang="en-US" baseline="0" dirty="0"/>
              <a:t> shows accurate adjudications with no automatically detected threats/laptops.  These are the bags most likely to be processed quickl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/>
              <a:t>With a 15 minute walkthrough and 15 minutes of training, CT certified TSOs had no steep learning curv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/>
              <a:t>TSOs are still learning the system and getting faster after 1 hour of use.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chemeClr val="dk1"/>
              </a:solidFill>
              <a:cs typeface="Times New Roman" panose="02020603050405020304" pitchFamily="18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42516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</a:t>
            </a:r>
            <a:r>
              <a:rPr lang="en-US" sz="14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an see which action took the longest when making an annotation.</a:t>
            </a:r>
            <a:endParaRPr lang="en-US" sz="14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97643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all, we find a general trend of improvement from the iterative</a:t>
            </a:r>
            <a:r>
              <a:rPr lang="en-US" baseline="0" dirty="0"/>
              <a:t> testing proces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03350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Measures like the System Usability Scale (SUS) can help establish standards for development and procur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dk1"/>
                </a:solidFill>
              </a:rPr>
              <a:t>Broadly applicable for any technological syste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dk1"/>
                </a:solidFill>
              </a:rPr>
              <a:t>Can measure current and future-state machin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dk1"/>
                </a:solidFill>
              </a:rPr>
              <a:t>Broad survey measurement through internal online resources of deployed technology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dk1"/>
                </a:solidFill>
              </a:rPr>
              <a:t>Specific survey measurement of iterative prototype develop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dk1"/>
                </a:solidFill>
              </a:rPr>
              <a:t>TSA can track the degree of system usability and changes with vendor updates, etc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dk1"/>
                </a:solidFill>
              </a:rPr>
              <a:t>TSA can compare usability ratings with performance outcomes and set standards for basic usability need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3121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xample of the IDSS image shared</a:t>
            </a:r>
            <a:r>
              <a:rPr lang="en-US" baseline="0" dirty="0"/>
              <a:t> openly by the company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0725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128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93667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434896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 SUS is a reliable and valid measure of the users’ overall perspective</a:t>
            </a:r>
            <a:r>
              <a:rPr lang="en-US" baseline="0" dirty="0"/>
              <a:t> of the learnability and usability of a syste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/>
              <a:t>Scores on the SUS can be compared to other systems to determine relative usability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aseline="0" dirty="0"/>
              <a:t>Scores on the SUS can be correlated to a letter grade and adjective that users would utilize to describe the system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6435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teration 1-2 Test focused on</a:t>
            </a:r>
            <a:r>
              <a:rPr lang="en-US" baseline="0" dirty="0"/>
              <a:t> two key elements requiring updating from Iteration 0 test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baseline="0" dirty="0"/>
              <a:t>2x2 design examining the Threat Tray and Annotation Methods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baseline="0" dirty="0"/>
              <a:t>Threat Tray: 2x</a:t>
            </a:r>
          </a:p>
          <a:p>
            <a:pPr marL="1085850" lvl="2" indent="-171450">
              <a:buFont typeface="Arial" panose="020B0604020202020204" pitchFamily="34" charset="0"/>
              <a:buChar char="•"/>
            </a:pPr>
            <a:r>
              <a:rPr lang="en-US" baseline="0" dirty="0"/>
              <a:t>Annotation:  2x</a:t>
            </a:r>
          </a:p>
          <a:p>
            <a:pPr marL="1543050" lvl="3" indent="-171450">
              <a:buFont typeface="Arial" panose="020B0604020202020204" pitchFamily="34" charset="0"/>
              <a:buChar char="•"/>
            </a:pPr>
            <a:r>
              <a:rPr lang="en-US" baseline="0" dirty="0"/>
              <a:t>Drill Down with system-estimated box placement</a:t>
            </a:r>
          </a:p>
          <a:p>
            <a:pPr marL="1543050" lvl="3" indent="-171450">
              <a:buFont typeface="Arial" panose="020B0604020202020204" pitchFamily="34" charset="0"/>
              <a:buChar char="•"/>
            </a:pPr>
            <a:r>
              <a:rPr lang="en-US" baseline="0" dirty="0"/>
              <a:t>Box draw where user draws the box over the threa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46464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1733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4CA06-00FE-480B-B83C-7A5D3BA8EDF1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0421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685801"/>
            <a:ext cx="10363200" cy="1470025"/>
          </a:xfrm>
        </p:spPr>
        <p:txBody>
          <a:bodyPr/>
          <a:lstStyle>
            <a:lvl1pPr algn="l"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12800" y="2209800"/>
            <a:ext cx="8534400" cy="12192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419600"/>
            <a:ext cx="12203501" cy="1143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24771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78428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4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12192000" cy="27463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868362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73600" y="6356351"/>
            <a:ext cx="28448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fld id="{EE7AFB73-2827-49BE-A637-402E7403B817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BA99A29-9C50-C245-86CE-117F10E20B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03238"/>
            <a:ext cx="3352800" cy="258762"/>
          </a:xfrm>
        </p:spPr>
        <p:txBody>
          <a:bodyPr>
            <a:normAutofit/>
          </a:bodyPr>
          <a:lstStyle>
            <a:lvl1pPr marL="0" indent="0">
              <a:buNone/>
              <a:defRPr sz="1050" b="1" spc="3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READCRUMB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416588A-5C90-A444-8725-0D0B6F4B71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378670"/>
            <a:ext cx="10972800" cy="4572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ub Header Here</a:t>
            </a:r>
          </a:p>
        </p:txBody>
      </p:sp>
    </p:spTree>
    <p:extLst>
      <p:ext uri="{BB962C8B-B14F-4D97-AF65-F5344CB8AC3E}">
        <p14:creationId xmlns:p14="http://schemas.microsoft.com/office/powerpoint/2010/main" val="2065317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27463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944562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73600" y="6356351"/>
            <a:ext cx="28448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fld id="{EE7AFB73-2827-49BE-A637-402E7403B81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6936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9240027-2ACC-254C-9B9F-D1E5E48BF1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7AFB73-2827-49BE-A637-402E7403B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9E1ABCA-490F-5042-8EAB-81154CB20B9F}"/>
              </a:ext>
            </a:extLst>
          </p:cNvPr>
          <p:cNvSpPr/>
          <p:nvPr userDrawn="1"/>
        </p:nvSpPr>
        <p:spPr>
          <a:xfrm>
            <a:off x="508000" y="4038600"/>
            <a:ext cx="5080000" cy="2819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90318F-4FEC-DE49-BCF9-B8D414F32D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1200" y="4863868"/>
            <a:ext cx="4673600" cy="685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Divider Goes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28BED56-6B9B-1148-B366-087F0F03EF4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200" y="5791201"/>
            <a:ext cx="4673600" cy="428625"/>
          </a:xfrm>
        </p:spPr>
        <p:txBody>
          <a:bodyPr>
            <a:noAutofit/>
          </a:bodyPr>
          <a:lstStyle>
            <a:lvl1pPr marL="0" indent="0">
              <a:buNone/>
              <a:defRPr sz="1400" b="1" spc="3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UB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6229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0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12192000" cy="27463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673600" y="6356351"/>
            <a:ext cx="28448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solidFill>
                  <a:schemeClr val="tx2"/>
                </a:solidFill>
              </a:defRPr>
            </a:lvl1pPr>
          </a:lstStyle>
          <a:p>
            <a:fld id="{EE7AFB73-2827-49BE-A637-402E7403B817}" type="slidenum">
              <a:rPr lang="en-US" smtClean="0">
                <a:solidFill>
                  <a:srgbClr val="1F497D"/>
                </a:solidFill>
              </a:rPr>
              <a:pPr/>
              <a:t>‹#›</a:t>
            </a:fld>
            <a:endParaRPr lang="en-US" dirty="0">
              <a:solidFill>
                <a:srgbClr val="1F497D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BA99A29-9C50-C245-86CE-117F10E20B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03238"/>
            <a:ext cx="3352800" cy="258762"/>
          </a:xfrm>
        </p:spPr>
        <p:txBody>
          <a:bodyPr>
            <a:normAutofit/>
          </a:bodyPr>
          <a:lstStyle>
            <a:lvl1pPr marL="0" indent="0">
              <a:buNone/>
              <a:defRPr sz="1050" b="1" spc="3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BREADCRUMB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416588A-5C90-A444-8725-0D0B6F4B71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1600200"/>
            <a:ext cx="10972800" cy="457200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Insert Sub Header Here</a:t>
            </a:r>
          </a:p>
        </p:txBody>
      </p:sp>
    </p:spTree>
    <p:extLst>
      <p:ext uri="{BB962C8B-B14F-4D97-AF65-F5344CB8AC3E}">
        <p14:creationId xmlns:p14="http://schemas.microsoft.com/office/powerpoint/2010/main" val="528078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21906758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9"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0207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478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73600" y="6356351"/>
            <a:ext cx="2844800" cy="365125"/>
          </a:xfrm>
          <a:prstGeom prst="rect">
            <a:avLst/>
          </a:prstGeom>
        </p:spPr>
        <p:txBody>
          <a:bodyPr/>
          <a:lstStyle>
            <a:lvl1pPr algn="ctr"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fld id="{EE7AFB73-2827-49BE-A637-402E7403B817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8" name="Picture 7" descr="TSA logo.pn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6064742"/>
            <a:ext cx="2209800" cy="6858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830AAF66-A688-405A-9CB8-EF6CFB756F79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9200" y="6143447"/>
            <a:ext cx="5570844" cy="659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195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4" r:id="rId3"/>
    <p:sldLayoutId id="2147483669" r:id="rId4"/>
    <p:sldLayoutId id="2147483681" r:id="rId5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Times New Roman" panose="02020603050405020304" pitchFamily="18" charset="0"/>
          <a:ea typeface="+mj-ea"/>
          <a:cs typeface="Times New Roman" panose="02020603050405020304" pitchFamily="18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microsoft.com/office/2007/relationships/hdphoto" Target="../media/hdphoto4.wdp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5" Type="http://schemas.microsoft.com/office/2007/relationships/hdphoto" Target="../media/hdphoto5.wdp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5" Type="http://schemas.microsoft.com/office/2007/relationships/hdphoto" Target="../media/hdphoto1.wdp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microsoft.com/office/2007/relationships/hdphoto" Target="../media/hdphoto3.wdp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0" y="914400"/>
            <a:ext cx="10439400" cy="1470025"/>
          </a:xfrm>
        </p:spPr>
        <p:txBody>
          <a:bodyPr>
            <a:normAutofit fontScale="90000"/>
          </a:bodyPr>
          <a:lstStyle/>
          <a:p>
            <a:br>
              <a:rPr lang="en-US" dirty="0">
                <a:solidFill>
                  <a:schemeClr val="tx2"/>
                </a:solidFill>
              </a:rPr>
            </a:br>
            <a:br>
              <a:rPr lang="en-US" dirty="0">
                <a:solidFill>
                  <a:schemeClr val="tx2"/>
                </a:solidFill>
              </a:rPr>
            </a:br>
            <a:r>
              <a:rPr lang="en-US" dirty="0">
                <a:solidFill>
                  <a:schemeClr val="tx2"/>
                </a:solidFill>
              </a:rPr>
              <a:t>Development and Analytic Process Used to Create a 3-Dimensional Graphical User Interface System for Baggage Screening</a:t>
            </a:r>
            <a:br>
              <a:rPr lang="en-US" sz="4900" dirty="0">
                <a:solidFill>
                  <a:schemeClr val="tx2"/>
                </a:solidFill>
                <a:latin typeface="+mj-lt"/>
              </a:rPr>
            </a:br>
            <a:br>
              <a:rPr lang="en-US" dirty="0">
                <a:solidFill>
                  <a:schemeClr val="tx2"/>
                </a:solidFill>
                <a:latin typeface="+mj-lt"/>
              </a:rPr>
            </a:br>
            <a:r>
              <a:rPr lang="en-US" sz="3100" dirty="0">
                <a:solidFill>
                  <a:schemeClr val="tx2"/>
                </a:solidFill>
                <a:latin typeface="+mj-lt"/>
              </a:rPr>
              <a:t>September 2020</a:t>
            </a:r>
            <a:br>
              <a:rPr lang="en-US" sz="3100" dirty="0">
                <a:solidFill>
                  <a:schemeClr val="tx2"/>
                </a:solidFill>
                <a:latin typeface="+mj-lt"/>
              </a:rPr>
            </a:br>
            <a:br>
              <a:rPr lang="en-US" sz="3100" dirty="0">
                <a:solidFill>
                  <a:schemeClr val="tx2"/>
                </a:solidFill>
                <a:latin typeface="+mj-lt"/>
              </a:rPr>
            </a:br>
            <a:r>
              <a:rPr lang="en-US" sz="3100" dirty="0">
                <a:solidFill>
                  <a:schemeClr val="tx2"/>
                </a:solidFill>
                <a:latin typeface="+mj-lt"/>
              </a:rPr>
              <a:t>Charles McKee, Simone McKnight, &amp; Kevin Zish</a:t>
            </a:r>
            <a:br>
              <a:rPr lang="en-US" sz="3100" dirty="0">
                <a:solidFill>
                  <a:schemeClr val="tx2"/>
                </a:solidFill>
                <a:latin typeface="+mj-lt"/>
              </a:rPr>
            </a:br>
            <a:r>
              <a:rPr lang="en-US" sz="3100" dirty="0">
                <a:solidFill>
                  <a:schemeClr val="tx2"/>
                </a:solidFill>
                <a:latin typeface="+mj-lt"/>
              </a:rPr>
              <a:t>Presenter: Kevin Zish</a:t>
            </a:r>
          </a:p>
        </p:txBody>
      </p:sp>
    </p:spTree>
    <p:extLst>
      <p:ext uri="{BB962C8B-B14F-4D97-AF65-F5344CB8AC3E}">
        <p14:creationId xmlns:p14="http://schemas.microsoft.com/office/powerpoint/2010/main" val="35652474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/>
              <a:t>Step 2: Prototype &amp; Development—Iteration 1-2</a:t>
            </a:r>
            <a:endParaRPr lang="en-US" dirty="0"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42015" t="40280" r="23440" b="24814"/>
          <a:stretch/>
        </p:blipFill>
        <p:spPr>
          <a:xfrm>
            <a:off x="1981200" y="1219200"/>
            <a:ext cx="8271978" cy="470170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56971" t="48173" r="31573" b="41078"/>
          <a:stretch/>
        </p:blipFill>
        <p:spPr>
          <a:xfrm>
            <a:off x="5562600" y="2285999"/>
            <a:ext cx="2743200" cy="144780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44879" t="48173" r="46529" b="41078"/>
          <a:stretch/>
        </p:blipFill>
        <p:spPr>
          <a:xfrm>
            <a:off x="2667000" y="2269906"/>
            <a:ext cx="2057400" cy="1447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5507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/>
              <a:t>Step 2: Prototype &amp; Development—Iteration 1-2</a:t>
            </a:r>
            <a:endParaRPr lang="en-US" dirty="0"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CDEA3A-683A-4A79-BC06-6F13F6CCA0EF}"/>
              </a:ext>
            </a:extLst>
          </p:cNvPr>
          <p:cNvSpPr/>
          <p:nvPr/>
        </p:nvSpPr>
        <p:spPr>
          <a:xfrm>
            <a:off x="643759" y="1828800"/>
            <a:ext cx="507124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spc="300" dirty="0">
                <a:solidFill>
                  <a:schemeClr val="tx2"/>
                </a:solidFill>
                <a:ea typeface="Chronicle Display Black" charset="0"/>
                <a:cs typeface="Chronicle Display Black" charset="0"/>
              </a:rPr>
              <a:t>Iteration 1-2 Results Ove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Qualitative Data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Each additional iteration increased the perceived usability of the system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TSOs felt that the CGUI was a highly usable, easy to learn system by the last iteration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Several specific desires were noted from other qualitative result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1424709"/>
            <a:ext cx="5486400" cy="449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lowchart: Decision 12"/>
          <p:cNvSpPr/>
          <p:nvPr/>
        </p:nvSpPr>
        <p:spPr>
          <a:xfrm>
            <a:off x="10330545" y="2461916"/>
            <a:ext cx="195942" cy="248195"/>
          </a:xfrm>
          <a:prstGeom prst="flowChartDecision">
            <a:avLst/>
          </a:prstGeom>
          <a:solidFill>
            <a:schemeClr val="accent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lowchart: Decision 13"/>
          <p:cNvSpPr/>
          <p:nvPr/>
        </p:nvSpPr>
        <p:spPr>
          <a:xfrm>
            <a:off x="9677400" y="3672609"/>
            <a:ext cx="195942" cy="248195"/>
          </a:xfrm>
          <a:prstGeom prst="flowChartDecision">
            <a:avLst/>
          </a:prstGeom>
          <a:solidFill>
            <a:srgbClr val="FF000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1473867"/>
              </p:ext>
            </p:extLst>
          </p:nvPr>
        </p:nvGraphicFramePr>
        <p:xfrm>
          <a:off x="232145" y="4069080"/>
          <a:ext cx="5486400" cy="111252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097280">
                  <a:extLst>
                    <a:ext uri="{9D8B030D-6E8A-4147-A177-3AD203B41FA5}">
                      <a16:colId xmlns:a16="http://schemas.microsoft.com/office/drawing/2014/main" val="2715664973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987849220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853577253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4235182833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61493979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Ite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SUS 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Percenti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Gra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Adjectiv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69074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Iteration</a:t>
                      </a:r>
                      <a:r>
                        <a:rPr lang="en-US" sz="1400" baseline="0" dirty="0">
                          <a:latin typeface="+mj-lt"/>
                        </a:rPr>
                        <a:t> 0</a:t>
                      </a:r>
                      <a:endParaRPr lang="en-US" sz="14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67.6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50.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O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25756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Iteration 1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82.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90.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Goo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6768667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9525000" y="1654175"/>
            <a:ext cx="609600" cy="32702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9956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/>
              <a:t>Step 2: Prototype &amp; Development—Iteration 3</a:t>
            </a:r>
            <a:endParaRPr lang="en-US" dirty="0"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3"/>
          <a:srcRect l="41667" t="40370" r="23750" b="25556"/>
          <a:stretch/>
        </p:blipFill>
        <p:spPr>
          <a:xfrm>
            <a:off x="1828800" y="1295400"/>
            <a:ext cx="8534400" cy="472990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42593" t="46409" r="44747" b="37123"/>
          <a:stretch/>
        </p:blipFill>
        <p:spPr>
          <a:xfrm>
            <a:off x="2057400" y="2133600"/>
            <a:ext cx="3124200" cy="2286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56797" t="46409" r="29308" b="37123"/>
          <a:stretch/>
        </p:blipFill>
        <p:spPr>
          <a:xfrm>
            <a:off x="5562600" y="2133600"/>
            <a:ext cx="3429000" cy="228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3867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/>
              <a:t>Step 2: Prototype &amp; Development—Iteration 3</a:t>
            </a:r>
            <a:endParaRPr lang="en-US" dirty="0"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CDEA3A-683A-4A79-BC06-6F13F6CCA0EF}"/>
              </a:ext>
            </a:extLst>
          </p:cNvPr>
          <p:cNvSpPr/>
          <p:nvPr/>
        </p:nvSpPr>
        <p:spPr>
          <a:xfrm>
            <a:off x="625642" y="1570183"/>
            <a:ext cx="64428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spc="300" dirty="0">
                <a:solidFill>
                  <a:schemeClr val="tx2"/>
                </a:solidFill>
                <a:ea typeface="Chronicle Display Black" charset="0"/>
                <a:cs typeface="Chronicle Display Black" charset="0"/>
              </a:rPr>
              <a:t>Iteration 3 Results Overview</a:t>
            </a: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2009578"/>
            <a:ext cx="5099628" cy="3553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3747610"/>
              </p:ext>
            </p:extLst>
          </p:nvPr>
        </p:nvGraphicFramePr>
        <p:xfrm>
          <a:off x="381000" y="2506246"/>
          <a:ext cx="6077626" cy="256032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418109">
                  <a:extLst>
                    <a:ext uri="{9D8B030D-6E8A-4147-A177-3AD203B41FA5}">
                      <a16:colId xmlns:a16="http://schemas.microsoft.com/office/drawing/2014/main" val="2145445028"/>
                    </a:ext>
                  </a:extLst>
                </a:gridCol>
                <a:gridCol w="1055174">
                  <a:extLst>
                    <a:ext uri="{9D8B030D-6E8A-4147-A177-3AD203B41FA5}">
                      <a16:colId xmlns:a16="http://schemas.microsoft.com/office/drawing/2014/main" val="3070864063"/>
                    </a:ext>
                  </a:extLst>
                </a:gridCol>
                <a:gridCol w="2604343">
                  <a:extLst>
                    <a:ext uri="{9D8B030D-6E8A-4147-A177-3AD203B41FA5}">
                      <a16:colId xmlns:a16="http://schemas.microsoft.com/office/drawing/2014/main" val="97910055"/>
                    </a:ext>
                  </a:extLst>
                </a:gridCol>
              </a:tblGrid>
              <a:tr h="20023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Catego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eas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Resul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674785"/>
                  </a:ext>
                </a:extLst>
              </a:tr>
              <a:tr h="303856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System Learn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im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ym typeface="Symbol" panose="05050102010706020507" pitchFamily="18" charset="2"/>
                        </a:rPr>
                        <a:t> accuracy</a:t>
                      </a:r>
                      <a:r>
                        <a:rPr lang="en-US" sz="1400" baseline="0" dirty="0">
                          <a:sym typeface="Symbol" panose="05050102010706020507" pitchFamily="18" charset="2"/>
                        </a:rPr>
                        <a:t> w/in 1 hour of training*</a:t>
                      </a:r>
                      <a:endParaRPr lang="en-US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148402"/>
                  </a:ext>
                </a:extLst>
              </a:tr>
              <a:tr h="303856">
                <a:tc vMerge="1">
                  <a:txBody>
                    <a:bodyPr/>
                    <a:lstStyle/>
                    <a:p>
                      <a:pPr algn="ctr"/>
                      <a:endParaRPr lang="en-US" sz="14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curacy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ym typeface="Symbol" panose="05050102010706020507" pitchFamily="18" charset="2"/>
                        </a:rPr>
                        <a:t> speed</a:t>
                      </a:r>
                      <a:r>
                        <a:rPr lang="en-US" sz="1400" baseline="0" dirty="0">
                          <a:sym typeface="Symbol" panose="05050102010706020507" pitchFamily="18" charset="2"/>
                        </a:rPr>
                        <a:t> w/in 1 hour of training*</a:t>
                      </a:r>
                      <a:endParaRPr lang="en-US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611075"/>
                  </a:ext>
                </a:extLst>
              </a:tr>
              <a:tr h="303856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System</a:t>
                      </a:r>
                      <a:r>
                        <a:rPr lang="en-US" sz="1400" i="1" baseline="0" dirty="0"/>
                        <a:t> Modality</a:t>
                      </a:r>
                      <a:endParaRPr lang="en-US" sz="1400" i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im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ouchscreen &gt; Mouse*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704548"/>
                  </a:ext>
                </a:extLst>
              </a:tr>
              <a:tr h="303856">
                <a:tc vMerge="1">
                  <a:txBody>
                    <a:bodyPr/>
                    <a:lstStyle/>
                    <a:p>
                      <a:pPr algn="ctr"/>
                      <a:endParaRPr lang="en-US" sz="14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curacy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uchscreen </a:t>
                      </a:r>
                      <a:r>
                        <a:rPr lang="en-US" sz="1400" dirty="0">
                          <a:sym typeface="Symbol" panose="05050102010706020507" pitchFamily="18" charset="2"/>
                        </a:rPr>
                        <a:t></a:t>
                      </a:r>
                      <a:r>
                        <a:rPr lang="en-US" sz="1400" baseline="0" dirty="0"/>
                        <a:t> Mouse </a:t>
                      </a:r>
                      <a:endParaRPr lang="en-US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468020"/>
                  </a:ext>
                </a:extLst>
              </a:tr>
              <a:tr h="303856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Iteratio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im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teration 1-2 &lt;</a:t>
                      </a:r>
                      <a:r>
                        <a:rPr lang="en-US" sz="1400" baseline="0" dirty="0"/>
                        <a:t> Iteration 3</a:t>
                      </a:r>
                      <a:endParaRPr lang="en-US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3348199"/>
                  </a:ext>
                </a:extLst>
              </a:tr>
              <a:tr h="303856">
                <a:tc vMerge="1">
                  <a:txBody>
                    <a:bodyPr/>
                    <a:lstStyle/>
                    <a:p>
                      <a:pPr algn="ctr"/>
                      <a:endParaRPr lang="en-US" sz="1400" i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curacy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ym typeface="Symbol" panose="05050102010706020507" pitchFamily="18" charset="2"/>
                        </a:rPr>
                        <a:t>Iteration</a:t>
                      </a:r>
                      <a:r>
                        <a:rPr lang="en-US" sz="1400" baseline="0" dirty="0">
                          <a:sym typeface="Symbol" panose="05050102010706020507" pitchFamily="18" charset="2"/>
                        </a:rPr>
                        <a:t> 1-2 </a:t>
                      </a:r>
                      <a:r>
                        <a:rPr lang="en-US" sz="1400" dirty="0">
                          <a:sym typeface="Symbol" panose="05050102010706020507" pitchFamily="18" charset="2"/>
                        </a:rPr>
                        <a:t> Iteration 3</a:t>
                      </a:r>
                      <a:r>
                        <a:rPr lang="en-US" sz="1400" baseline="0" dirty="0">
                          <a:sym typeface="Symbol" panose="05050102010706020507" pitchFamily="18" charset="2"/>
                        </a:rPr>
                        <a:t> </a:t>
                      </a:r>
                      <a:endParaRPr lang="en-US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62295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72864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/>
              <a:t>Step 4-5: CGUI Iteration 3 </a:t>
            </a:r>
            <a:endParaRPr lang="en-US" dirty="0"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CDEA3A-683A-4A79-BC06-6F13F6CCA0EF}"/>
              </a:ext>
            </a:extLst>
          </p:cNvPr>
          <p:cNvSpPr/>
          <p:nvPr/>
        </p:nvSpPr>
        <p:spPr>
          <a:xfrm>
            <a:off x="625642" y="1570183"/>
            <a:ext cx="644284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spc="300" dirty="0">
                <a:solidFill>
                  <a:schemeClr val="tx2"/>
                </a:solidFill>
                <a:ea typeface="Chronicle Display Black" charset="0"/>
                <a:cs typeface="Chronicle Display Black" charset="0"/>
              </a:rPr>
              <a:t>Iteration 3 Results Overview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4590007"/>
              </p:ext>
            </p:extLst>
          </p:nvPr>
        </p:nvGraphicFramePr>
        <p:xfrm>
          <a:off x="381000" y="2506246"/>
          <a:ext cx="6077626" cy="2560320"/>
        </p:xfrm>
        <a:graphic>
          <a:graphicData uri="http://schemas.openxmlformats.org/drawingml/2006/table">
            <a:tbl>
              <a:tblPr firstRow="1" bandRow="1">
                <a:tableStyleId>{2A488322-F2BA-4B5B-9748-0D474271808F}</a:tableStyleId>
              </a:tblPr>
              <a:tblGrid>
                <a:gridCol w="2418109">
                  <a:extLst>
                    <a:ext uri="{9D8B030D-6E8A-4147-A177-3AD203B41FA5}">
                      <a16:colId xmlns:a16="http://schemas.microsoft.com/office/drawing/2014/main" val="2145445028"/>
                    </a:ext>
                  </a:extLst>
                </a:gridCol>
                <a:gridCol w="1055174">
                  <a:extLst>
                    <a:ext uri="{9D8B030D-6E8A-4147-A177-3AD203B41FA5}">
                      <a16:colId xmlns:a16="http://schemas.microsoft.com/office/drawing/2014/main" val="3070864063"/>
                    </a:ext>
                  </a:extLst>
                </a:gridCol>
                <a:gridCol w="2604343">
                  <a:extLst>
                    <a:ext uri="{9D8B030D-6E8A-4147-A177-3AD203B41FA5}">
                      <a16:colId xmlns:a16="http://schemas.microsoft.com/office/drawing/2014/main" val="97910055"/>
                    </a:ext>
                  </a:extLst>
                </a:gridCol>
              </a:tblGrid>
              <a:tr h="20023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Catego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Meas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Result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5674785"/>
                  </a:ext>
                </a:extLst>
              </a:tr>
              <a:tr h="303856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System Learn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im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ym typeface="Symbol" panose="05050102010706020507" pitchFamily="18" charset="2"/>
                        </a:rPr>
                        <a:t> accuracy</a:t>
                      </a:r>
                      <a:r>
                        <a:rPr lang="en-US" sz="1400" baseline="0" dirty="0">
                          <a:sym typeface="Symbol" panose="05050102010706020507" pitchFamily="18" charset="2"/>
                        </a:rPr>
                        <a:t> w/in 1 hour of training*</a:t>
                      </a:r>
                      <a:endParaRPr lang="en-US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0148402"/>
                  </a:ext>
                </a:extLst>
              </a:tr>
              <a:tr h="303856">
                <a:tc vMerge="1">
                  <a:txBody>
                    <a:bodyPr/>
                    <a:lstStyle/>
                    <a:p>
                      <a:pPr algn="ctr"/>
                      <a:endParaRPr lang="en-US" sz="14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curacy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ym typeface="Symbol" panose="05050102010706020507" pitchFamily="18" charset="2"/>
                        </a:rPr>
                        <a:t> speed</a:t>
                      </a:r>
                      <a:r>
                        <a:rPr lang="en-US" sz="1400" baseline="0" dirty="0">
                          <a:sym typeface="Symbol" panose="05050102010706020507" pitchFamily="18" charset="2"/>
                        </a:rPr>
                        <a:t> w/in 1 hour of training*</a:t>
                      </a:r>
                      <a:endParaRPr lang="en-US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611075"/>
                  </a:ext>
                </a:extLst>
              </a:tr>
              <a:tr h="303856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System</a:t>
                      </a:r>
                      <a:r>
                        <a:rPr lang="en-US" sz="1400" i="1" baseline="0" dirty="0"/>
                        <a:t> Modality</a:t>
                      </a:r>
                      <a:endParaRPr lang="en-US" sz="1400" i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im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ouchscreen &gt; Mouse*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9704548"/>
                  </a:ext>
                </a:extLst>
              </a:tr>
              <a:tr h="303856">
                <a:tc vMerge="1">
                  <a:txBody>
                    <a:bodyPr/>
                    <a:lstStyle/>
                    <a:p>
                      <a:pPr algn="ctr"/>
                      <a:endParaRPr lang="en-US" sz="1400" i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curacy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uchscreen </a:t>
                      </a:r>
                      <a:r>
                        <a:rPr lang="en-US" sz="1400" dirty="0">
                          <a:sym typeface="Symbol" panose="05050102010706020507" pitchFamily="18" charset="2"/>
                        </a:rPr>
                        <a:t></a:t>
                      </a:r>
                      <a:r>
                        <a:rPr lang="en-US" sz="1400" baseline="0" dirty="0"/>
                        <a:t> Mouse </a:t>
                      </a:r>
                      <a:endParaRPr lang="en-US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468020"/>
                  </a:ext>
                </a:extLst>
              </a:tr>
              <a:tr h="303856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i="1" dirty="0"/>
                        <a:t>Iteratio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Tim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teration 1-2 &lt;</a:t>
                      </a:r>
                      <a:r>
                        <a:rPr lang="en-US" sz="1400" baseline="0" dirty="0"/>
                        <a:t> Iteration 3</a:t>
                      </a:r>
                      <a:endParaRPr lang="en-US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3348199"/>
                  </a:ext>
                </a:extLst>
              </a:tr>
              <a:tr h="303856">
                <a:tc vMerge="1">
                  <a:txBody>
                    <a:bodyPr/>
                    <a:lstStyle/>
                    <a:p>
                      <a:pPr algn="ctr"/>
                      <a:endParaRPr lang="en-US" sz="1400" i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curacy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ym typeface="Symbol" panose="05050102010706020507" pitchFamily="18" charset="2"/>
                        </a:rPr>
                        <a:t>Iteration</a:t>
                      </a:r>
                      <a:r>
                        <a:rPr lang="en-US" sz="1400" baseline="0" dirty="0">
                          <a:sym typeface="Symbol" panose="05050102010706020507" pitchFamily="18" charset="2"/>
                        </a:rPr>
                        <a:t> 1-2 </a:t>
                      </a:r>
                      <a:r>
                        <a:rPr lang="en-US" sz="1400" dirty="0">
                          <a:sym typeface="Symbol" panose="05050102010706020507" pitchFamily="18" charset="2"/>
                        </a:rPr>
                        <a:t> Iteration 3</a:t>
                      </a:r>
                      <a:r>
                        <a:rPr lang="en-US" sz="1400" baseline="0" dirty="0">
                          <a:sym typeface="Symbol" panose="05050102010706020507" pitchFamily="18" charset="2"/>
                        </a:rPr>
                        <a:t> </a:t>
                      </a:r>
                      <a:endParaRPr lang="en-US" sz="14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6229575"/>
                  </a:ext>
                </a:extLst>
              </a:tr>
            </a:tbl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1968" y="3272214"/>
            <a:ext cx="2831432" cy="2831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6937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/>
              <a:t>Step 2: Prototype &amp; Development—Iteration 3</a:t>
            </a:r>
            <a:endParaRPr lang="en-US" dirty="0"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CDEA3A-683A-4A79-BC06-6F13F6CCA0EF}"/>
              </a:ext>
            </a:extLst>
          </p:cNvPr>
          <p:cNvSpPr/>
          <p:nvPr/>
        </p:nvSpPr>
        <p:spPr>
          <a:xfrm>
            <a:off x="643759" y="1828800"/>
            <a:ext cx="5071242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spc="300" dirty="0">
                <a:solidFill>
                  <a:schemeClr val="tx2"/>
                </a:solidFill>
                <a:ea typeface="Chronicle Display Black" charset="0"/>
                <a:cs typeface="Chronicle Display Black" charset="0"/>
              </a:rPr>
              <a:t>CGUI Results Summ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Qualitative Data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US" sz="1400" dirty="0"/>
              <a:t>Each additional iteration increased the perceived usability of the system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TSOs felt that the CGUI was a highly usable, easy to learn system by the last iteration.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9800" y="1424709"/>
            <a:ext cx="5486400" cy="449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Flowchart: Decision 11"/>
          <p:cNvSpPr/>
          <p:nvPr/>
        </p:nvSpPr>
        <p:spPr>
          <a:xfrm>
            <a:off x="10461174" y="2312009"/>
            <a:ext cx="195942" cy="248195"/>
          </a:xfrm>
          <a:prstGeom prst="flowChartDecision">
            <a:avLst/>
          </a:prstGeom>
          <a:solidFill>
            <a:srgbClr val="00660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lowchart: Decision 12"/>
          <p:cNvSpPr/>
          <p:nvPr/>
        </p:nvSpPr>
        <p:spPr>
          <a:xfrm>
            <a:off x="10330545" y="2461916"/>
            <a:ext cx="195942" cy="248195"/>
          </a:xfrm>
          <a:prstGeom prst="flowChartDecision">
            <a:avLst/>
          </a:prstGeom>
          <a:solidFill>
            <a:schemeClr val="accent1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lowchart: Decision 13"/>
          <p:cNvSpPr/>
          <p:nvPr/>
        </p:nvSpPr>
        <p:spPr>
          <a:xfrm>
            <a:off x="9677400" y="3672609"/>
            <a:ext cx="195942" cy="248195"/>
          </a:xfrm>
          <a:prstGeom prst="flowChartDecision">
            <a:avLst/>
          </a:prstGeom>
          <a:solidFill>
            <a:srgbClr val="FF0000"/>
          </a:solidFill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5328567"/>
              </p:ext>
            </p:extLst>
          </p:nvPr>
        </p:nvGraphicFramePr>
        <p:xfrm>
          <a:off x="232145" y="3633233"/>
          <a:ext cx="5486400" cy="148336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1097280">
                  <a:extLst>
                    <a:ext uri="{9D8B030D-6E8A-4147-A177-3AD203B41FA5}">
                      <a16:colId xmlns:a16="http://schemas.microsoft.com/office/drawing/2014/main" val="2715664973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987849220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853577253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4235182833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161493979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Ite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SUS Sco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Percenti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Gra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Adjectiv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69074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Iteration</a:t>
                      </a:r>
                      <a:r>
                        <a:rPr lang="en-US" sz="1400" baseline="0" dirty="0">
                          <a:latin typeface="+mj-lt"/>
                        </a:rPr>
                        <a:t> 0</a:t>
                      </a:r>
                      <a:endParaRPr lang="en-US" sz="14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67.6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50.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O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625756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Iteration 1-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82.3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90.1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Goo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067686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Iteration 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84.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93.6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j-lt"/>
                        </a:rPr>
                        <a:t>Goo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72047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927446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>
                <a:latin typeface="+mj-lt"/>
              </a:rPr>
              <a:t>Step 3: Develop Recommend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CDEA3A-683A-4A79-BC06-6F13F6CCA0EF}"/>
              </a:ext>
            </a:extLst>
          </p:cNvPr>
          <p:cNvSpPr/>
          <p:nvPr/>
        </p:nvSpPr>
        <p:spPr>
          <a:xfrm>
            <a:off x="643759" y="1828800"/>
            <a:ext cx="8534400" cy="37548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spc="300" dirty="0">
                <a:solidFill>
                  <a:schemeClr val="tx2"/>
                </a:solidFill>
                <a:ea typeface="Chronicle Display Black" charset="0"/>
                <a:cs typeface="Chronicle Display Black" charset="0"/>
              </a:rPr>
              <a:t>CGUI Recommend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Specific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Specific prototype for initial implementation was develope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Required tools for all systems regardless of design were identified</a:t>
            </a:r>
          </a:p>
          <a:p>
            <a:pPr lvl="1"/>
            <a:endParaRPr lang="en-US" altLang="en-US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Broa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Certain metrics can serve TSA broadly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Measures like the System Usability Scale (SUS) can help establish standards for development and procurement</a:t>
            </a:r>
            <a:endParaRPr lang="en-US" altLang="en-US" sz="14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General training considerations were identified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Development of a structured training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How to support knowledge shift required of TSOs from one system to anoth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Adaptability of system to future project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Developed initial prototype versions of how CT interface would react in a scenario where screening protocols shift (e.g., </a:t>
            </a:r>
            <a:r>
              <a:rPr lang="en-US" altLang="en-US" sz="1400" dirty="0" err="1"/>
              <a:t>PreCheck</a:t>
            </a:r>
            <a:r>
              <a:rPr lang="en-US" altLang="en-US" sz="1400" dirty="0"/>
              <a:t> vs Standard lanes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Discussed considerations for system updates given Deep Learning advancements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09058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D616F8-F26E-F24A-8CE9-7B91744961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laimer</a:t>
            </a:r>
            <a:endParaRPr lang="en-US" dirty="0"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245A4FD-47C5-444B-A1DE-81DE68488C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17571E-DE26-BF44-A610-EC98AE845F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  <p:sp>
        <p:nvSpPr>
          <p:cNvPr id="7" name="TextBox 4">
            <a:extLst>
              <a:ext uri="{FF2B5EF4-FFF2-40B4-BE49-F238E27FC236}">
                <a16:creationId xmlns:a16="http://schemas.microsoft.com/office/drawing/2014/main" id="{472216F5-4B21-4767-8305-33054E6DE4D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5600" y="1550808"/>
            <a:ext cx="5105399" cy="278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1600" b="1" i="1" dirty="0"/>
              <a:t>We have included content approved for public consumption</a:t>
            </a:r>
          </a:p>
          <a:p>
            <a:pPr lvl="1"/>
            <a:r>
              <a:rPr lang="en-US" altLang="en-US" sz="1400" b="1" i="1" dirty="0"/>
              <a:t>The results presented are limited in the depth of detail we can discuss about the data</a:t>
            </a:r>
          </a:p>
          <a:p>
            <a:pPr lvl="1"/>
            <a:r>
              <a:rPr lang="en-US" altLang="en-US" sz="1400" b="1" i="1" dirty="0"/>
              <a:t>Several images have been altered according to security guidelines</a:t>
            </a:r>
          </a:p>
          <a:p>
            <a:pPr lvl="2"/>
            <a:r>
              <a:rPr lang="en-US" altLang="en-US" sz="1400" b="1" i="1" dirty="0"/>
              <a:t>Some images readily available to the general public (open source) by the CT vendors will be shared </a:t>
            </a:r>
          </a:p>
          <a:p>
            <a:pPr lvl="1"/>
            <a:endParaRPr lang="en-US" altLang="en-US" sz="1400" b="1" dirty="0"/>
          </a:p>
          <a:p>
            <a:pPr marL="457200" lvl="1" indent="0">
              <a:lnSpc>
                <a:spcPct val="120000"/>
              </a:lnSpc>
              <a:buNone/>
              <a:defRPr/>
            </a:pPr>
            <a:endParaRPr kumimoji="0" lang="en-US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cs typeface="Times New Roman" panose="02020603050405020304" pitchFamily="18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905000"/>
            <a:ext cx="5715000" cy="2969121"/>
          </a:xfrm>
          <a:prstGeom prst="rect">
            <a:avLst/>
          </a:prstGeom>
          <a:ln w="571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04694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>
                <a:latin typeface="+mj-lt"/>
              </a:rPr>
              <a:t>Creating a Common GU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CDEA3A-683A-4A79-BC06-6F13F6CCA0EF}"/>
              </a:ext>
            </a:extLst>
          </p:cNvPr>
          <p:cNvSpPr/>
          <p:nvPr/>
        </p:nvSpPr>
        <p:spPr>
          <a:xfrm>
            <a:off x="643759" y="1676400"/>
            <a:ext cx="5782442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TSA has some interesting challenges: continue to process passengers and their property quickly despite year over year increases in passenger volum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One solution might be CT system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T systems are commonly used in the medical fiel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T systems allow a 3D image to be taken of an objec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T systems allow for images to be rotated and sliced digitall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use of CT systems at the checkpoint allow TSOs to view images clearly and see what is behind or between objec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n the future, the use of CT systems at the checkpoint may allow passengers to divest nothing from their property, increasing throughpu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our different vendors have produced a CT machine for security u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However, each vendor has a different way of showing the images to the us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image to the right is an example of the same bag scanned through each machine—notice how the same bag looks different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60417" t="29259" r="3750" b="30000"/>
          <a:stretch/>
        </p:blipFill>
        <p:spPr>
          <a:xfrm>
            <a:off x="6426200" y="1839103"/>
            <a:ext cx="5181600" cy="331381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63052" t="39564" r="31292" b="52005"/>
          <a:stretch/>
        </p:blipFill>
        <p:spPr>
          <a:xfrm>
            <a:off x="6802120" y="2667000"/>
            <a:ext cx="817880" cy="6858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70289" t="56427" r="23774" b="37015"/>
          <a:stretch/>
        </p:blipFill>
        <p:spPr>
          <a:xfrm>
            <a:off x="7848600" y="4062433"/>
            <a:ext cx="858520" cy="533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4"/>
                    </a14:imgEffect>
                  </a14:imgLayer>
                </a14:imgProps>
              </a:ext>
            </a:extLst>
          </a:blip>
          <a:srcRect l="81495" t="37691" r="13907" b="57532"/>
          <a:stretch/>
        </p:blipFill>
        <p:spPr>
          <a:xfrm>
            <a:off x="9482667" y="2514600"/>
            <a:ext cx="651934" cy="381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81391" t="56427" r="12812" b="36371"/>
          <a:stretch/>
        </p:blipFill>
        <p:spPr>
          <a:xfrm>
            <a:off x="9448800" y="4062433"/>
            <a:ext cx="838200" cy="58576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71343" t="39564" r="24442" b="51942"/>
          <a:stretch/>
        </p:blipFill>
        <p:spPr>
          <a:xfrm>
            <a:off x="8001000" y="2661920"/>
            <a:ext cx="609600" cy="69088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62999" t="56427" r="31731" b="37015"/>
          <a:stretch/>
        </p:blipFill>
        <p:spPr>
          <a:xfrm>
            <a:off x="6781801" y="4062433"/>
            <a:ext cx="762000" cy="533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87716" t="56427" r="5960" b="36371"/>
          <a:stretch/>
        </p:blipFill>
        <p:spPr>
          <a:xfrm>
            <a:off x="10363200" y="4062432"/>
            <a:ext cx="914400" cy="58576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4"/>
                    </a14:imgEffect>
                  </a14:imgLayer>
                </a14:imgProps>
              </a:ext>
            </a:extLst>
          </a:blip>
          <a:srcRect l="81495" t="44378" r="14206" b="50845"/>
          <a:stretch/>
        </p:blipFill>
        <p:spPr>
          <a:xfrm>
            <a:off x="9524998" y="3048000"/>
            <a:ext cx="609602" cy="381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4"/>
                    </a14:imgEffect>
                  </a14:imgLayer>
                </a14:imgProps>
              </a:ext>
            </a:extLst>
          </a:blip>
          <a:srcRect l="87944" t="44095" r="6682" b="51128"/>
          <a:stretch/>
        </p:blipFill>
        <p:spPr>
          <a:xfrm>
            <a:off x="10439400" y="3047999"/>
            <a:ext cx="762000" cy="38100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4"/>
                    </a14:imgEffect>
                  </a14:imgLayer>
                </a14:imgProps>
              </a:ext>
            </a:extLst>
          </a:blip>
          <a:srcRect l="87944" t="38362" r="6682" b="57816"/>
          <a:stretch/>
        </p:blipFill>
        <p:spPr>
          <a:xfrm>
            <a:off x="10430932" y="2554199"/>
            <a:ext cx="694266" cy="34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4608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>
                <a:latin typeface="+mj-lt"/>
              </a:rPr>
              <a:t>Creating a Common GUI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CDEA3A-683A-4A79-BC06-6F13F6CCA0EF}"/>
              </a:ext>
            </a:extLst>
          </p:cNvPr>
          <p:cNvSpPr/>
          <p:nvPr/>
        </p:nvSpPr>
        <p:spPr>
          <a:xfrm>
            <a:off x="643759" y="1676400"/>
            <a:ext cx="578244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purpose of this project was to create one common interfa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he interface would show a bag image with 1 set of colors and tools, regardless of the machine which produced the image.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/>
          <a:srcRect l="60417" t="29259" r="3750" b="30000"/>
          <a:stretch/>
        </p:blipFill>
        <p:spPr>
          <a:xfrm>
            <a:off x="6426200" y="1839103"/>
            <a:ext cx="5181600" cy="331381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63052" t="39564" r="31292" b="52005"/>
          <a:stretch/>
        </p:blipFill>
        <p:spPr>
          <a:xfrm>
            <a:off x="6802120" y="2667000"/>
            <a:ext cx="817880" cy="68580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70289" t="56427" r="23774" b="37015"/>
          <a:stretch/>
        </p:blipFill>
        <p:spPr>
          <a:xfrm>
            <a:off x="7848600" y="4062433"/>
            <a:ext cx="858520" cy="533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4"/>
                    </a14:imgEffect>
                  </a14:imgLayer>
                </a14:imgProps>
              </a:ext>
            </a:extLst>
          </a:blip>
          <a:srcRect l="81495" t="37691" r="13907" b="57532"/>
          <a:stretch/>
        </p:blipFill>
        <p:spPr>
          <a:xfrm>
            <a:off x="9482667" y="2514600"/>
            <a:ext cx="651934" cy="381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81391" t="56427" r="12812" b="36371"/>
          <a:stretch/>
        </p:blipFill>
        <p:spPr>
          <a:xfrm>
            <a:off x="9448800" y="4062433"/>
            <a:ext cx="838200" cy="58576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71343" t="39564" r="24442" b="51942"/>
          <a:stretch/>
        </p:blipFill>
        <p:spPr>
          <a:xfrm>
            <a:off x="8001000" y="2661920"/>
            <a:ext cx="609600" cy="69088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62999" t="56427" r="31731" b="37015"/>
          <a:stretch/>
        </p:blipFill>
        <p:spPr>
          <a:xfrm>
            <a:off x="6781801" y="4062433"/>
            <a:ext cx="762000" cy="533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87716" t="56427" r="5960" b="36371"/>
          <a:stretch/>
        </p:blipFill>
        <p:spPr>
          <a:xfrm>
            <a:off x="10363200" y="4062432"/>
            <a:ext cx="914400" cy="58576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4"/>
                    </a14:imgEffect>
                  </a14:imgLayer>
                </a14:imgProps>
              </a:ext>
            </a:extLst>
          </a:blip>
          <a:srcRect l="81495" t="44378" r="14206" b="50845"/>
          <a:stretch/>
        </p:blipFill>
        <p:spPr>
          <a:xfrm>
            <a:off x="9524998" y="3048000"/>
            <a:ext cx="609602" cy="381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4"/>
                    </a14:imgEffect>
                  </a14:imgLayer>
                </a14:imgProps>
              </a:ext>
            </a:extLst>
          </a:blip>
          <a:srcRect l="87944" t="44095" r="6682" b="51128"/>
          <a:stretch/>
        </p:blipFill>
        <p:spPr>
          <a:xfrm>
            <a:off x="10439400" y="3047999"/>
            <a:ext cx="762000" cy="381001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4"/>
                    </a14:imgEffect>
                  </a14:imgLayer>
                </a14:imgProps>
              </a:ext>
            </a:extLst>
          </a:blip>
          <a:srcRect l="87944" t="38362" r="6682" b="57816"/>
          <a:stretch/>
        </p:blipFill>
        <p:spPr>
          <a:xfrm>
            <a:off x="10430932" y="2554199"/>
            <a:ext cx="694266" cy="341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4135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>
                <a:latin typeface="+mj-lt"/>
              </a:rPr>
              <a:t>Step 1: Re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5832" t="23333" r="4584" b="13704"/>
          <a:stretch/>
        </p:blipFill>
        <p:spPr>
          <a:xfrm>
            <a:off x="609600" y="1447800"/>
            <a:ext cx="11201400" cy="442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52272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>
                <a:latin typeface="+mj-lt"/>
              </a:rPr>
              <a:t>Step 1: Re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CDEA3A-683A-4A79-BC06-6F13F6CCA0EF}"/>
              </a:ext>
            </a:extLst>
          </p:cNvPr>
          <p:cNvSpPr/>
          <p:nvPr/>
        </p:nvSpPr>
        <p:spPr>
          <a:xfrm>
            <a:off x="643758" y="1828800"/>
            <a:ext cx="9033641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spc="300" dirty="0">
                <a:solidFill>
                  <a:schemeClr val="tx2"/>
                </a:solidFill>
                <a:ea typeface="Chronicle Display Black" charset="0"/>
                <a:cs typeface="Chronicle Display Black" charset="0"/>
              </a:rPr>
              <a:t>Re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The review step encompasses all activities that provide the necessary breadth and depth on the topic of interest to develop testable hypotheses and a test pla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Provides guidance to the relevant topic (what works, what doesn’t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Identifies unknowns and points of concern to addres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Identifies possible solutions 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spc="300" dirty="0">
                <a:solidFill>
                  <a:schemeClr val="tx2"/>
                </a:solidFill>
                <a:ea typeface="Chronicle Display Black" charset="0"/>
                <a:cs typeface="Chronicle Display Black" charset="0"/>
              </a:rPr>
              <a:t>Multimethod Approach 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Begin with examination of available archival in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Consider active review and feedback methods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8887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>
                <a:latin typeface="+mj-lt"/>
              </a:rPr>
              <a:t>Step 2: Prototype &amp; Developmen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CDEA3A-683A-4A79-BC06-6F13F6CCA0EF}"/>
              </a:ext>
            </a:extLst>
          </p:cNvPr>
          <p:cNvSpPr/>
          <p:nvPr/>
        </p:nvSpPr>
        <p:spPr>
          <a:xfrm>
            <a:off x="643759" y="1828800"/>
            <a:ext cx="7204841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spc="300" dirty="0">
                <a:solidFill>
                  <a:schemeClr val="tx2"/>
                </a:solidFill>
                <a:ea typeface="Chronicle Display Black" charset="0"/>
                <a:cs typeface="Chronicle Display Black" charset="0"/>
              </a:rPr>
              <a:t>Prototype and Develop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Key Elements lead to Specific, Testable questions for the current projec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Supports development of a test plan and, when relevant, a testable prototype (for product-based testing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Often can identify additional testable questions for future consideration ear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Team-based dynamic supports faster develop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All team members develop prototypes/testable questions from content available and team narrows down focus together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spc="300" dirty="0">
                <a:solidFill>
                  <a:schemeClr val="tx2"/>
                </a:solidFill>
                <a:ea typeface="Chronicle Display Black" charset="0"/>
                <a:cs typeface="Chronicle Display Black" charset="0"/>
              </a:rPr>
              <a:t>CGUI Prototype 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Team used Key Elements identified from testing to develop a prototype interface that all individuals commented on and revised over several cycles until group consensus was reach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sz="1400" dirty="0"/>
              <a:t>Specific questions about the prototype were developed by the team and verified by HPB to incorporate into the test plan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58537" t="18148" r="18580" b="54731"/>
          <a:stretch/>
        </p:blipFill>
        <p:spPr>
          <a:xfrm>
            <a:off x="8267699" y="2475250"/>
            <a:ext cx="3314701" cy="2209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61957" t="28693" r="32782" b="62890"/>
          <a:stretch/>
        </p:blipFill>
        <p:spPr>
          <a:xfrm>
            <a:off x="8686800" y="3352799"/>
            <a:ext cx="838200" cy="68580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Blur radius="6"/>
                    </a14:imgEffect>
                  </a14:imgLayer>
                </a14:imgProps>
              </a:ext>
            </a:extLst>
          </a:blip>
          <a:srcRect l="69848" t="28693" r="25417" b="62890"/>
          <a:stretch/>
        </p:blipFill>
        <p:spPr>
          <a:xfrm>
            <a:off x="9906000" y="3352799"/>
            <a:ext cx="685800" cy="685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3509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/>
              <a:t>Step 2: Prototype &amp; Development—Iteration 0</a:t>
            </a:r>
            <a:endParaRPr lang="en-US" dirty="0"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/>
          <a:srcRect l="38535" t="35242" r="11246" b="17386"/>
          <a:stretch/>
        </p:blipFill>
        <p:spPr>
          <a:xfrm>
            <a:off x="1676400" y="1295400"/>
            <a:ext cx="8915400" cy="47306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8"/>
                    </a14:imgEffect>
                  </a14:imgLayer>
                </a14:imgProps>
              </a:ext>
            </a:extLst>
          </a:blip>
          <a:srcRect l="60855" t="44399" r="22835" b="34235"/>
          <a:stretch/>
        </p:blipFill>
        <p:spPr>
          <a:xfrm>
            <a:off x="5638800" y="2209800"/>
            <a:ext cx="2895600" cy="21336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Blur radius="8"/>
                    </a14:imgEffect>
                  </a14:imgLayer>
                </a14:imgProps>
              </a:ext>
            </a:extLst>
          </a:blip>
          <a:srcRect l="44544" t="44399" r="43009" b="34235"/>
          <a:stretch/>
        </p:blipFill>
        <p:spPr>
          <a:xfrm>
            <a:off x="2743200" y="2197768"/>
            <a:ext cx="220980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1237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F6846D-909C-804D-B7FD-99012CDA9E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03238"/>
            <a:ext cx="10972800" cy="944562"/>
          </a:xfrm>
        </p:spPr>
        <p:txBody>
          <a:bodyPr/>
          <a:lstStyle/>
          <a:p>
            <a:r>
              <a:rPr lang="en-US" dirty="0"/>
              <a:t>Step 2: Prototype &amp; Development—Iteration 0</a:t>
            </a:r>
            <a:endParaRPr lang="en-US" dirty="0">
              <a:latin typeface="+mj-lt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FE89319-4DB3-A446-9924-3F5E9391F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7AFB73-2827-49BE-A637-402E7403B817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1A6671-BF11-3240-BA49-D5706EDEAC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en-US" dirty="0"/>
              <a:t>Research Proces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CDEA3A-683A-4A79-BC06-6F13F6CCA0EF}"/>
              </a:ext>
            </a:extLst>
          </p:cNvPr>
          <p:cNvSpPr/>
          <p:nvPr/>
        </p:nvSpPr>
        <p:spPr>
          <a:xfrm>
            <a:off x="643758" y="1828800"/>
            <a:ext cx="987184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spc="300" dirty="0">
                <a:solidFill>
                  <a:schemeClr val="tx2"/>
                </a:solidFill>
                <a:ea typeface="Chronicle Display Black" charset="0"/>
                <a:cs typeface="Chronicle Display Black" charset="0"/>
              </a:rPr>
              <a:t>CGUI Results Overvie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dirty="0"/>
              <a:t>Qualitative Dat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/>
              <a:t>Provided general system feedback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US" sz="1400" dirty="0"/>
              <a:t>System Usability Scal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8" name="Picture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400" y="1981200"/>
            <a:ext cx="5105400" cy="3556000"/>
          </a:xfrm>
          <a:prstGeom prst="rect">
            <a:avLst/>
          </a:prstGeom>
        </p:spPr>
      </p:pic>
      <p:pic>
        <p:nvPicPr>
          <p:cNvPr id="9" name="Picture 8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400" y="3180854"/>
            <a:ext cx="4857750" cy="2125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2979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Custom 2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C0C0C0"/>
      </a:accent3>
      <a:accent4>
        <a:srgbClr val="EAEAEA"/>
      </a:accent4>
      <a:accent5>
        <a:srgbClr val="005392"/>
      </a:accent5>
      <a:accent6>
        <a:srgbClr val="FEFFFF"/>
      </a:accent6>
      <a:hlink>
        <a:srgbClr val="FEFFFF"/>
      </a:hlink>
      <a:folHlink>
        <a:srgbClr val="FEFFFF"/>
      </a:folHlink>
    </a:clrScheme>
    <a:fontScheme name="Times New Roman-Arial">
      <a:majorFont>
        <a:latin typeface="Times New Roman" panose="02020603050405020304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ntentTypeId xmlns="http://schemas.microsoft.com/sharepoint/v3">0x010100FF63777160409442813EAA05C69C312C</ContentTypeId>
    <TemplateUrl xmlns="http://schemas.microsoft.com/sharepoint/v3" xsi:nil="true"/>
    <OSC_x0020_Division xmlns="28193ea4-f652-4388-b9f6-9af561e3c5f2" xsi:nil="true"/>
    <EmailTo xmlns="http://schemas.microsoft.com/sharepoint/v3" xsi:nil="true"/>
    <Period xmlns="28193ea4-f652-4388-b9f6-9af561e3c5f2" xsi:nil="true"/>
    <EmailHeaders xmlns="http://schemas.microsoft.com/sharepoint/v4" xsi:nil="true"/>
    <Template xmlns="717763ff-4060-4294-813e-aa05c69c312c">false</Template>
    <Audit xmlns="717763ff-4060-4294-813e-aa05c69c312c">false</Audit>
    <EmailSender xmlns="http://schemas.microsoft.com/sharepoint/v3" xsi:nil="true"/>
    <EmailFrom xmlns="http://schemas.microsoft.com/sharepoint/v3" xsi:nil="true"/>
    <_SourceUrl xmlns="http://schemas.microsoft.com/sharepoint/v3" xsi:nil="true"/>
    <TEST_x0020_Airport_x0020_Column xmlns="28193ea4-f652-4388-b9f6-9af561e3c5f2"/>
    <OSC_x0020_Branch xmlns="28193ea4-f652-4388-b9f6-9af561e3c5f2" xsi:nil="true"/>
    <Archived_x003f_ xmlns="717763ff-4060-4294-813e-aa05c69c312c" xsi:nil="true"/>
    <Year xmlns="717763ff-4060-4294-813e-aa05c69c312c" xsi:nil="true"/>
    <EmailSubject xmlns="http://schemas.microsoft.com/sharepoint/v3" xsi:nil="true"/>
    <Category xmlns="717763ff-4060-4294-813e-aa05c69c312c">34</Category>
    <xd_ProgID xmlns="http://schemas.microsoft.com/sharepoint/v3" xsi:nil="true"/>
    <OSC_x0020_Section xmlns="28193ea4-f652-4388-b9f6-9af561e3c5f2" xsi:nil="true"/>
    <Archived_x0020_Date xmlns="717763ff-4060-4294-813e-aa05c69c312c" xsi:nil="true"/>
    <Program_x002f_Organization xmlns="28193ea4-f652-4388-b9f6-9af561e3c5f2"/>
    <Archived xmlns="717763ff-4060-4294-813e-aa05c69c312c" xsi:nil="true"/>
    <Created_x0020_by xmlns="28193ea4-f652-4388-b9f6-9af561e3c5f2"/>
    <Order xmlns="http://schemas.microsoft.com/sharepoint/v3" xsi:nil="true"/>
    <_SharedFileIndex xmlns="http://schemas.microsoft.com/sharepoint/v3" xsi:nil="true"/>
    <MetaInfo xmlns="http://schemas.microsoft.com/sharepoint/v3" xsi:nil="true"/>
    <Key_x0020_Words xmlns="717763FF-4060-4294-813E-AA05C69C312C" xsi:nil="true"/>
    <EmailCc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63777160409442813EAA05C69C312C" ma:contentTypeVersion="26" ma:contentTypeDescription="Create a new document." ma:contentTypeScope="" ma:versionID="ebada91cc686e4d7e780c288dfdd12d7">
  <xsd:schema xmlns:xsd="http://www.w3.org/2001/XMLSchema" xmlns:xs="http://www.w3.org/2001/XMLSchema" xmlns:p="http://schemas.microsoft.com/office/2006/metadata/properties" xmlns:ns1="http://schemas.microsoft.com/sharepoint/v3" xmlns:ns2="717763FF-4060-4294-813E-AA05C69C312C" xmlns:ns3="717763ff-4060-4294-813e-aa05c69c312c" xmlns:ns4="28193ea4-f652-4388-b9f6-9af561e3c5f2" xmlns:ns5="http://schemas.microsoft.com/sharepoint/v4" targetNamespace="http://schemas.microsoft.com/office/2006/metadata/properties" ma:root="true" ma:fieldsID="fe6466c864e56830c829329bb77585e1" ns1:_="" ns2:_="" ns3:_="" ns4:_="" ns5:_="">
    <xsd:import namespace="http://schemas.microsoft.com/sharepoint/v3"/>
    <xsd:import namespace="717763FF-4060-4294-813E-AA05C69C312C"/>
    <xsd:import namespace="717763ff-4060-4294-813e-aa05c69c312c"/>
    <xsd:import namespace="28193ea4-f652-4388-b9f6-9af561e3c5f2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Key_x0020_Words" minOccurs="0"/>
                <xsd:element ref="ns3:Category" minOccurs="0"/>
                <xsd:element ref="ns3:Template" minOccurs="0"/>
                <xsd:element ref="ns3:Year" minOccurs="0"/>
                <xsd:element ref="ns3:Archived" minOccurs="0"/>
                <xsd:element ref="ns3:Archived_x0020_Date" minOccurs="0"/>
                <xsd:element ref="ns3:Audit" minOccurs="0"/>
                <xsd:element ref="ns1:_ModerationComments" minOccurs="0"/>
                <xsd:element ref="ns1:File_x0020_Type" minOccurs="0"/>
                <xsd:element ref="ns1:HTML_x0020_File_x0020_Type" minOccurs="0"/>
                <xsd:element ref="ns1:_SourceUrl" minOccurs="0"/>
                <xsd:element ref="ns1:_SharedFileIndex" minOccurs="0"/>
                <xsd:element ref="ns1:ContentTypeId" minOccurs="0"/>
                <xsd:element ref="ns1:TemplateUrl" minOccurs="0"/>
                <xsd:element ref="ns1:xd_ProgID" minOccurs="0"/>
                <xsd:element ref="ns1:xd_Signature" minOccurs="0"/>
                <xsd:element ref="ns4:Program_x002f_Organization" minOccurs="0"/>
                <xsd:element ref="ns4:Created_x0020_by" minOccurs="0"/>
                <xsd:element ref="ns4:TEST_x0020_Airport_x0020_Column" minOccurs="0"/>
                <xsd:element ref="ns1:ID" minOccurs="0"/>
                <xsd:element ref="ns1:Author" minOccurs="0"/>
                <xsd:element ref="ns1:Editor" minOccurs="0"/>
                <xsd:element ref="ns1:_HasCopyDestinations" minOccurs="0"/>
                <xsd:element ref="ns1:_CopySource" minOccurs="0"/>
                <xsd:element ref="ns1:_ModerationStatus" minOccurs="0"/>
                <xsd:element ref="ns1:FileRef" minOccurs="0"/>
                <xsd:element ref="ns1:FileDirRef" minOccurs="0"/>
                <xsd:element ref="ns1:Last_x0020_Modified" minOccurs="0"/>
                <xsd:element ref="ns1:Created_x0020_Date" minOccurs="0"/>
                <xsd:element ref="ns1:File_x0020_Size" minOccurs="0"/>
                <xsd:element ref="ns1:FSObjType" minOccurs="0"/>
                <xsd:element ref="ns1:CheckedOutUserId" minOccurs="0"/>
                <xsd:element ref="ns1:IsCheckedoutToLocal" minOccurs="0"/>
                <xsd:element ref="ns1:CheckoutUser" minOccurs="0"/>
                <xsd:element ref="ns1:UniqueId" minOccurs="0"/>
                <xsd:element ref="ns1:ProgId" minOccurs="0"/>
                <xsd:element ref="ns1:ScopeId" minOccurs="0"/>
                <xsd:element ref="ns1:VirusStatus" minOccurs="0"/>
                <xsd:element ref="ns1:CheckedOutTitle" minOccurs="0"/>
                <xsd:element ref="ns1:_CheckinComment" minOccurs="0"/>
                <xsd:element ref="ns1:MetaInfo" minOccurs="0"/>
                <xsd:element ref="ns1:_Level" minOccurs="0"/>
                <xsd:element ref="ns1:_IsCurrentVersion" minOccurs="0"/>
                <xsd:element ref="ns1:owshiddenversion" minOccurs="0"/>
                <xsd:element ref="ns1:_UIVersion" minOccurs="0"/>
                <xsd:element ref="ns1:_UIVersionString" minOccurs="0"/>
                <xsd:element ref="ns1:InstanceID" minOccurs="0"/>
                <xsd:element ref="ns1:Order" minOccurs="0"/>
                <xsd:element ref="ns1:GUID" minOccurs="0"/>
                <xsd:element ref="ns1:WorkflowVersion" minOccurs="0"/>
                <xsd:element ref="ns1:WorkflowInstanceID" minOccurs="0"/>
                <xsd:element ref="ns1:ParentVersionString" minOccurs="0"/>
                <xsd:element ref="ns1:ParentLeafName" minOccurs="0"/>
                <xsd:element ref="ns4:Period" minOccurs="0"/>
                <xsd:element ref="ns4:OSC_x0020_Branch" minOccurs="0"/>
                <xsd:element ref="ns4:OSC_x0020_Division" minOccurs="0"/>
                <xsd:element ref="ns4:OSC_x0020_Section" minOccurs="0"/>
                <xsd:element ref="ns1:EmailSender" minOccurs="0"/>
                <xsd:element ref="ns1:EmailTo" minOccurs="0"/>
                <xsd:element ref="ns1:EmailCc" minOccurs="0"/>
                <xsd:element ref="ns1:EmailFrom" minOccurs="0"/>
                <xsd:element ref="ns1:EmailSubject" minOccurs="0"/>
                <xsd:element ref="ns3:Archived_x003f_" minOccurs="0"/>
                <xsd:element ref="ns5:EmailHead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ModerationComments" ma:index="9" nillable="true" ma:displayName="Approver Comments" ma:hidden="true" ma:internalName="_ModerationComments" ma:readOnly="true">
      <xsd:simpleType>
        <xsd:restriction base="dms:Note"/>
      </xsd:simpleType>
    </xsd:element>
    <xsd:element name="File_x0020_Type" ma:index="12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3" nillable="true" ma:displayName="HTML File Type" ma:hidden="true" ma:internalName="HTML_x0020_File_x0020_Type" ma:readOnly="true">
      <xsd:simpleType>
        <xsd:restriction base="dms:Text"/>
      </xsd:simpleType>
    </xsd:element>
    <xsd:element name="_SourceUrl" ma:index="14" nillable="true" ma:displayName="Source URL" ma:hidden="true" ma:internalName="_SourceUrl">
      <xsd:simpleType>
        <xsd:restriction base="dms:Text"/>
      </xsd:simpleType>
    </xsd:element>
    <xsd:element name="_SharedFileIndex" ma:index="15" nillable="true" ma:displayName="Shared File Index" ma:hidden="true" ma:internalName="_SharedFileIndex">
      <xsd:simpleType>
        <xsd:restriction base="dms:Text"/>
      </xsd:simpleType>
    </xsd:element>
    <xsd:element name="ContentTypeId" ma:index="16" nillable="true" ma:displayName="Content Type ID" ma:hidden="true" ma:internalName="ContentTypeId" ma:readOnly="true">
      <xsd:simpleType>
        <xsd:restriction base="dms:Unknown"/>
      </xsd:simpleType>
    </xsd:element>
    <xsd:element name="TemplateUrl" ma:index="17" nillable="true" ma:displayName="Template Link" ma:hidden="true" ma:internalName="TemplateUrl">
      <xsd:simpleType>
        <xsd:restriction base="dms:Text"/>
      </xsd:simpleType>
    </xsd:element>
    <xsd:element name="xd_ProgID" ma:index="18" nillable="true" ma:displayName="HTML File Link" ma:hidden="true" ma:internalName="xd_ProgID">
      <xsd:simpleType>
        <xsd:restriction base="dms:Text"/>
      </xsd:simpleType>
    </xsd:element>
    <xsd:element name="xd_Signature" ma:index="19" nillable="true" ma:displayName="Is Signed" ma:hidden="true" ma:internalName="xd_Signature" ma:readOnly="true">
      <xsd:simpleType>
        <xsd:restriction base="dms:Boolean"/>
      </xsd:simpleType>
    </xsd:element>
    <xsd:element name="ID" ma:index="23" nillable="true" ma:displayName="ID" ma:internalName="ID" ma:readOnly="true">
      <xsd:simpleType>
        <xsd:restriction base="dms:Unknown"/>
      </xsd:simpleType>
    </xsd:element>
    <xsd:element name="Author" ma:index="26" nillable="true" ma:displayName="Created By" ma:list="UserInfo" ma:internalName="Autho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Editor" ma:index="28" nillable="true" ma:displayName="Modified By" ma:list="UserInfo" ma:internalName="Edito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HasCopyDestinations" ma:index="29" nillable="true" ma:displayName="Has Copy Destinations" ma:hidden="true" ma:internalName="_HasCopyDestinations" ma:readOnly="true">
      <xsd:simpleType>
        <xsd:restriction base="dms:Boolean"/>
      </xsd:simpleType>
    </xsd:element>
    <xsd:element name="_CopySource" ma:index="30" nillable="true" ma:displayName="Copy Source" ma:internalName="_CopySource" ma:readOnly="true">
      <xsd:simpleType>
        <xsd:restriction base="dms:Text"/>
      </xsd:simpleType>
    </xsd:element>
    <xsd:element name="_ModerationStatus" ma:index="31" nillable="true" ma:displayName="Approval Status" ma:default="0" ma:hidden="true" ma:internalName="_ModerationStatus" ma:readOnly="true">
      <xsd:simpleType>
        <xsd:restriction base="dms:Unknown"/>
      </xsd:simpleType>
    </xsd:element>
    <xsd:element name="FileRef" ma:index="32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DirRef" ma:index="33" nillable="true" ma:displayName="Path" ma:hidden="true" ma:list="Docs" ma:internalName="FileDirRef" ma:readOnly="true" ma:showField="DirName">
      <xsd:simpleType>
        <xsd:restriction base="dms:Lookup"/>
      </xsd:simpleType>
    </xsd:element>
    <xsd:element name="Last_x0020_Modified" ma:index="34" nillable="true" ma:displayName="Modified" ma:format="TRUE" ma:hidden="true" ma:list="Docs" ma:internalName="Last_x0020_Modified" ma:readOnly="true" ma:showField="TimeLastModified">
      <xsd:simpleType>
        <xsd:restriction base="dms:Lookup"/>
      </xsd:simpleType>
    </xsd:element>
    <xsd:element name="Created_x0020_Date" ma:index="35" nillable="true" ma:displayName="Created" ma:format="TRUE" ma:hidden="true" ma:list="Docs" ma:internalName="Created_x0020_Date" ma:readOnly="true" ma:showField="TimeCreated">
      <xsd:simpleType>
        <xsd:restriction base="dms:Lookup"/>
      </xsd:simpleType>
    </xsd:element>
    <xsd:element name="File_x0020_Size" ma:index="36" nillable="true" ma:displayName="File Size" ma:format="TRUE" ma:hidden="true" ma:list="Docs" ma:internalName="File_x0020_Size" ma:readOnly="true" ma:showField="SizeInKB">
      <xsd:simpleType>
        <xsd:restriction base="dms:Lookup"/>
      </xsd:simpleType>
    </xsd:element>
    <xsd:element name="FSObjType" ma:index="37" nillable="true" ma:displayName="Item Type" ma:hidden="true" ma:list="Docs" ma:internalName="FSObjType" ma:readOnly="true" ma:showField="FSType">
      <xsd:simpleType>
        <xsd:restriction base="dms:Lookup"/>
      </xsd:simpleType>
    </xsd:element>
    <xsd:element name="CheckedOutUserId" ma:index="39" nillable="true" ma:displayName="ID of the User who has the item Checked Out" ma:hidden="true" ma:list="Docs" ma:internalName="CheckedOutUserId" ma:readOnly="true" ma:showField="CheckoutUserId">
      <xsd:simpleType>
        <xsd:restriction base="dms:Lookup"/>
      </xsd:simpleType>
    </xsd:element>
    <xsd:element name="IsCheckedoutToLocal" ma:index="40" nillable="true" ma:displayName="Is Checked out to local" ma:hidden="true" ma:list="Docs" ma:internalName="IsCheckedoutToLocal" ma:readOnly="true" ma:showField="IsCheckoutToLocal">
      <xsd:simpleType>
        <xsd:restriction base="dms:Lookup"/>
      </xsd:simpleType>
    </xsd:element>
    <xsd:element name="CheckoutUser" ma:index="41" nillable="true" ma:displayName="Checked Out To" ma:list="UserInfo" ma:internalName="CheckoutUser" ma:readOnly="tru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UniqueId" ma:index="42" nillable="true" ma:displayName="Unique Id" ma:hidden="true" ma:list="Docs" ma:internalName="UniqueId" ma:readOnly="true" ma:showField="UniqueId">
      <xsd:simpleType>
        <xsd:restriction base="dms:Lookup"/>
      </xsd:simpleType>
    </xsd:element>
    <xsd:element name="ProgId" ma:index="43" nillable="true" ma:displayName="ProgId" ma:hidden="true" ma:list="Docs" ma:internalName="ProgId" ma:readOnly="true" ma:showField="ProgId">
      <xsd:simpleType>
        <xsd:restriction base="dms:Lookup"/>
      </xsd:simpleType>
    </xsd:element>
    <xsd:element name="ScopeId" ma:index="44" nillable="true" ma:displayName="ScopeId" ma:hidden="true" ma:list="Docs" ma:internalName="ScopeId" ma:readOnly="true" ma:showField="ScopeId">
      <xsd:simpleType>
        <xsd:restriction base="dms:Lookup"/>
      </xsd:simpleType>
    </xsd:element>
    <xsd:element name="VirusStatus" ma:index="45" nillable="true" ma:displayName="Virus Status" ma:format="TRUE" ma:hidden="true" ma:list="Docs" ma:internalName="VirusStatus" ma:readOnly="true" ma:showField="Size">
      <xsd:simpleType>
        <xsd:restriction base="dms:Lookup"/>
      </xsd:simpleType>
    </xsd:element>
    <xsd:element name="CheckedOutTitle" ma:index="46" nillable="true" ma:displayName="Checked Out To" ma:format="TRUE" ma:hidden="true" ma:list="Docs" ma:internalName="CheckedOutTitle" ma:readOnly="true" ma:showField="CheckedOutTitle">
      <xsd:simpleType>
        <xsd:restriction base="dms:Lookup"/>
      </xsd:simpleType>
    </xsd:element>
    <xsd:element name="_CheckinComment" ma:index="47" nillable="true" ma:displayName="Check In Comment" ma:format="TRUE" ma:list="Docs" ma:internalName="_CheckinComment" ma:readOnly="true" ma:showField="CheckinComment">
      <xsd:simpleType>
        <xsd:restriction base="dms:Lookup"/>
      </xsd:simpleType>
    </xsd:element>
    <xsd:element name="MetaInfo" ma:index="58" nillable="true" ma:displayName="Property Bag" ma:hidden="true" ma:list="Docs" ma:internalName="MetaInfo" ma:showField="MetaInfo">
      <xsd:simpleType>
        <xsd:restriction base="dms:Lookup"/>
      </xsd:simpleType>
    </xsd:element>
    <xsd:element name="_Level" ma:index="59" nillable="true" ma:displayName="Level" ma:hidden="true" ma:internalName="_Level" ma:readOnly="true">
      <xsd:simpleType>
        <xsd:restriction base="dms:Unknown"/>
      </xsd:simpleType>
    </xsd:element>
    <xsd:element name="_IsCurrentVersion" ma:index="60" nillable="true" ma:displayName="Is Current Version" ma:hidden="true" ma:internalName="_IsCurrentVersion" ma:readOnly="true">
      <xsd:simpleType>
        <xsd:restriction base="dms:Boolean"/>
      </xsd:simpleType>
    </xsd:element>
    <xsd:element name="owshiddenversion" ma:index="64" nillable="true" ma:displayName="owshiddenversion" ma:hidden="true" ma:internalName="owshiddenversion" ma:readOnly="true">
      <xsd:simpleType>
        <xsd:restriction base="dms:Unknown"/>
      </xsd:simpleType>
    </xsd:element>
    <xsd:element name="_UIVersion" ma:index="65" nillable="true" ma:displayName="UI Version" ma:hidden="true" ma:internalName="_UIVersion" ma:readOnly="true">
      <xsd:simpleType>
        <xsd:restriction base="dms:Unknown"/>
      </xsd:simpleType>
    </xsd:element>
    <xsd:element name="_UIVersionString" ma:index="66" nillable="true" ma:displayName="Version" ma:internalName="_UIVersionString" ma:readOnly="true">
      <xsd:simpleType>
        <xsd:restriction base="dms:Text"/>
      </xsd:simpleType>
    </xsd:element>
    <xsd:element name="InstanceID" ma:index="67" nillable="true" ma:displayName="Instance ID" ma:hidden="true" ma:internalName="InstanceID" ma:readOnly="true">
      <xsd:simpleType>
        <xsd:restriction base="dms:Unknown"/>
      </xsd:simpleType>
    </xsd:element>
    <xsd:element name="Order" ma:index="68" nillable="true" ma:displayName="Order" ma:hidden="true" ma:internalName="Order">
      <xsd:simpleType>
        <xsd:restriction base="dms:Number"/>
      </xsd:simpleType>
    </xsd:element>
    <xsd:element name="GUID" ma:index="69" nillable="true" ma:displayName="GUID" ma:hidden="true" ma:internalName="GUID" ma:readOnly="true">
      <xsd:simpleType>
        <xsd:restriction base="dms:Unknown"/>
      </xsd:simpleType>
    </xsd:element>
    <xsd:element name="WorkflowVersion" ma:index="70" nillable="true" ma:displayName="Workflow Version" ma:hidden="true" ma:internalName="WorkflowVersion" ma:readOnly="true">
      <xsd:simpleType>
        <xsd:restriction base="dms:Unknown"/>
      </xsd:simpleType>
    </xsd:element>
    <xsd:element name="WorkflowInstanceID" ma:index="71" nillable="true" ma:displayName="Workflow Instance ID" ma:hidden="true" ma:internalName="WorkflowInstanceID" ma:readOnly="true">
      <xsd:simpleType>
        <xsd:restriction base="dms:Unknown"/>
      </xsd:simpleType>
    </xsd:element>
    <xsd:element name="ParentVersionString" ma:index="72" nillable="true" ma:displayName="Source Version (Converted Document)" ma:hidden="true" ma:list="Docs" ma:internalName="ParentVersionString" ma:readOnly="true" ma:showField="ParentVersionString">
      <xsd:simpleType>
        <xsd:restriction base="dms:Lookup"/>
      </xsd:simpleType>
    </xsd:element>
    <xsd:element name="ParentLeafName" ma:index="73" nillable="true" ma:displayName="Source Name (Converted Document)" ma:hidden="true" ma:list="Docs" ma:internalName="ParentLeafName" ma:readOnly="true" ma:showField="ParentLeafName">
      <xsd:simpleType>
        <xsd:restriction base="dms:Lookup"/>
      </xsd:simpleType>
    </xsd:element>
    <xsd:element name="EmailSender" ma:index="81" nillable="true" ma:displayName="E-Mail Sender" ma:hidden="true" ma:internalName="EmailSender">
      <xsd:simpleType>
        <xsd:restriction base="dms:Note">
          <xsd:maxLength value="255"/>
        </xsd:restriction>
      </xsd:simpleType>
    </xsd:element>
    <xsd:element name="EmailTo" ma:index="82" nillable="true" ma:displayName="E-Mail To" ma:hidden="true" ma:internalName="EmailTo">
      <xsd:simpleType>
        <xsd:restriction base="dms:Note">
          <xsd:maxLength value="255"/>
        </xsd:restriction>
      </xsd:simpleType>
    </xsd:element>
    <xsd:element name="EmailCc" ma:index="83" nillable="true" ma:displayName="E-Mail Cc" ma:hidden="true" ma:internalName="EmailCc">
      <xsd:simpleType>
        <xsd:restriction base="dms:Note">
          <xsd:maxLength value="255"/>
        </xsd:restriction>
      </xsd:simpleType>
    </xsd:element>
    <xsd:element name="EmailFrom" ma:index="84" nillable="true" ma:displayName="E-Mail From" ma:hidden="true" ma:internalName="EmailFrom">
      <xsd:simpleType>
        <xsd:restriction base="dms:Text"/>
      </xsd:simpleType>
    </xsd:element>
    <xsd:element name="EmailSubject" ma:index="85" nillable="true" ma:displayName="E-Mail Subject" ma:hidden="true" ma:internalName="EmailSubjec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7763FF-4060-4294-813E-AA05C69C312C" elementFormDefault="qualified">
    <xsd:import namespace="http://schemas.microsoft.com/office/2006/documentManagement/types"/>
    <xsd:import namespace="http://schemas.microsoft.com/office/infopath/2007/PartnerControls"/>
    <xsd:element name="Key_x0020_Words" ma:index="2" nillable="true" ma:displayName="Key Words" ma:internalName="Key_x0020_Words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7763ff-4060-4294-813e-aa05c69c312c" elementFormDefault="qualified">
    <xsd:import namespace="http://schemas.microsoft.com/office/2006/documentManagement/types"/>
    <xsd:import namespace="http://schemas.microsoft.com/office/infopath/2007/PartnerControls"/>
    <xsd:element name="Category" ma:index="3" nillable="true" ma:displayName="Category" ma:list="{dd11d6fc-d067-42b6-aa5c-ca5a630581e8}" ma:internalName="Category" ma:showField="Sub_x002d_Category" ma:web="0b69c230-cf96-45d0-9d5d-2cc4e9120db9">
      <xsd:simpleType>
        <xsd:restriction base="dms:Lookup"/>
      </xsd:simpleType>
    </xsd:element>
    <xsd:element name="Template" ma:index="4" nillable="true" ma:displayName="Template" ma:default="0" ma:internalName="Template">
      <xsd:simpleType>
        <xsd:restriction base="dms:Boolean"/>
      </xsd:simpleType>
    </xsd:element>
    <xsd:element name="Year" ma:index="5" nillable="true" ma:displayName="Year" ma:list="{5e2a8219-f40c-48b2-a7b0-f5d7dad99eef}" ma:internalName="Year" ma:showField="Year" ma:web="0b69c230-cf96-45d0-9d5d-2cc4e9120db9">
      <xsd:simpleType>
        <xsd:restriction base="dms:Lookup"/>
      </xsd:simpleType>
    </xsd:element>
    <xsd:element name="Archived" ma:index="6" nillable="true" ma:displayName="Archived" ma:list="{2df240e9-b9f2-49ee-b7ec-29635b86c562}" ma:internalName="Archived" ma:showField="Archive" ma:web="0b69c230-cf96-45d0-9d5d-2cc4e9120db9">
      <xsd:simpleType>
        <xsd:restriction base="dms:Lookup"/>
      </xsd:simpleType>
    </xsd:element>
    <xsd:element name="Archived_x0020_Date" ma:index="7" nillable="true" ma:displayName="Archived Date" ma:format="DateOnly" ma:internalName="Archived_x0020_Date">
      <xsd:simpleType>
        <xsd:restriction base="dms:DateTime"/>
      </xsd:simpleType>
    </xsd:element>
    <xsd:element name="Audit" ma:index="8" nillable="true" ma:displayName="Audit" ma:default="0" ma:internalName="Audit">
      <xsd:simpleType>
        <xsd:restriction base="dms:Boolean"/>
      </xsd:simpleType>
    </xsd:element>
    <xsd:element name="Archived_x003f_" ma:index="86" nillable="true" ma:displayName="Archived?" ma:format="Dropdown" ma:internalName="Archived_x003f_">
      <xsd:simpleType>
        <xsd:restriction base="dms:Choice">
          <xsd:enumeration value="Yes"/>
          <xsd:enumeration value="No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193ea4-f652-4388-b9f6-9af561e3c5f2" elementFormDefault="qualified">
    <xsd:import namespace="http://schemas.microsoft.com/office/2006/documentManagement/types"/>
    <xsd:import namespace="http://schemas.microsoft.com/office/infopath/2007/PartnerControls"/>
    <xsd:element name="Program_x002f_Organization" ma:index="20" nillable="true" ma:displayName="By Program/Org" ma:list="{83febd6f-1eb7-4209-a0f3-2fef14f087a5}" ma:internalName="Program_x002F_Organization" ma:readOnly="false" ma:showField="LinkTitleNoMenu" ma:web="28193ea4-f652-4388-b9f6-9af561e3c5f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reated_x0020_by" ma:index="21" nillable="true" ma:displayName="For Program/Org" ma:list="{83febd6f-1eb7-4209-a0f3-2fef14f087a5}" ma:internalName="Created_x0020_by0" ma:readOnly="false" ma:showField="Title" ma:web="28193ea4-f652-4388-b9f6-9af561e3c5f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EST_x0020_Airport_x0020_Column" ma:index="22" nillable="true" ma:displayName="Airport" ma:list="{c4f2ef63-db8d-4ceb-831c-c219d5c6f0d9}" ma:internalName="TEST_x0020_Airport_x0020_Column" ma:readOnly="false" ma:showField="LinkTitleNoMenu" ma:web="28193ea4-f652-4388-b9f6-9af561e3c5f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Period" ma:index="76" nillable="true" ma:displayName="Period" ma:format="Dropdown" ma:internalName="Period">
      <xsd:simpleType>
        <xsd:restriction base="dms:Choice">
          <xsd:enumeration value="None"/>
          <xsd:enumeration value="Other"/>
          <xsd:enumeration value="TBD"/>
          <xsd:enumeration value="2013 04 09.doc"/>
          <xsd:enumeration value="2013 01 10.doc"/>
          <xsd:enumeration value="2012 10 02.doc"/>
          <xsd:enumeration value="2012 07 26.doc"/>
          <xsd:enumeration value="2012 01 04.doc"/>
          <xsd:enumeration value="2011 09 22.doc"/>
          <xsd:enumeration value="2011 07 28.doc"/>
          <xsd:enumeration value="2011 04 18.doc"/>
          <xsd:enumeration value="2011 03 29.doc"/>
          <xsd:enumeration value="2011 01 01.doc"/>
          <xsd:enumeration value="2010 09 30.doc"/>
          <xsd:enumeration value="2010 06 30.doc"/>
          <xsd:enumeration value="2010 03 29.doc"/>
          <xsd:enumeration value="2010 01 04.doc"/>
          <xsd:enumeration value="2009 09 01.doc"/>
          <xsd:enumeration value="2009 05 21.doc"/>
          <xsd:enumeration value="2009 02 06.doc"/>
          <xsd:enumeration value="2009 01 27.doc"/>
          <xsd:enumeration value="2008 10 27.doc"/>
          <xsd:enumeration value="2008 09 10.doc"/>
          <xsd:enumeration value="2008 06 12.doc"/>
          <xsd:enumeration value="2008 04 02.doc"/>
          <xsd:enumeration value="2008 01 31 B.doc"/>
          <xsd:enumeration value="2008 01 31 A.doc"/>
          <xsd:enumeration value="2007 10 26.doc"/>
          <xsd:enumeration value="2007 07 26.doc"/>
          <xsd:enumeration value="2007 04 26.doc"/>
          <xsd:enumeration value="2007 01 26.doc"/>
          <xsd:enumeration value="2006 10 26.doc"/>
          <xsd:enumeration value="2006 09 14.doc"/>
          <xsd:enumeration value="2006 06 12.doc"/>
          <xsd:enumeration value="2006 04 28.doc"/>
          <xsd:enumeration value="2006 04 05.doc"/>
          <xsd:enumeration value="2006 04 03.doc"/>
          <xsd:enumeration value="2006 03 03.doc"/>
          <xsd:enumeration value="2006 01 06.doc"/>
          <xsd:enumeration value="2005 11 24.doc"/>
          <xsd:enumeration value="2005 11 11.doc"/>
          <xsd:enumeration value="2005 09 19.doc"/>
          <xsd:enumeration value="2005 08 25.doc"/>
          <xsd:enumeration value="2005 07 14.doc"/>
          <xsd:enumeration value="2005 07 13.doc"/>
          <xsd:enumeration value="2005 06 21.doc"/>
          <xsd:enumeration value="2005 05 19.doc"/>
          <xsd:enumeration value="2005 05 14.doc"/>
          <xsd:enumeration value="2005 03 25.doc"/>
          <xsd:enumeration value="2005 03 16.doc"/>
          <xsd:enumeration value="2005 03 15.doc"/>
          <xsd:enumeration value="2005 01 26.doc"/>
          <xsd:enumeration value="2004 12 17.doc"/>
          <xsd:enumeration value="2004 12 15.doc"/>
          <xsd:enumeration value="2004 11 15.doc"/>
          <xsd:enumeration value="2004 09 18.doc"/>
          <xsd:enumeration value="2004 09 15.doc"/>
          <xsd:enumeration value="2004 06 16.doc"/>
          <xsd:enumeration value="2004 06 15.doc"/>
          <xsd:enumeration value="2004 03 17.doc"/>
          <xsd:enumeration value="2004 03 14 B.doc"/>
          <xsd:enumeration value="2004 03 14 A.doc"/>
          <xsd:enumeration value="2003 12 15.doc"/>
          <xsd:enumeration value="2003 09 15.doc"/>
          <xsd:enumeration value="2003 06 15.doc"/>
          <xsd:enumeration value="2003 03 15.doc"/>
          <xsd:enumeration value="2003 03 14.doc"/>
          <xsd:enumeration value="2002 10 01.doc"/>
          <xsd:enumeration value="2002 07 01.doc"/>
          <xsd:enumeration value="2002 04 15.doc"/>
          <xsd:enumeration value="2001 09 01.doc"/>
        </xsd:restriction>
      </xsd:simpleType>
    </xsd:element>
    <xsd:element name="OSC_x0020_Branch" ma:index="78" nillable="true" ma:displayName="OSC Branch" ma:list="{6a85c56b-36f9-42c2-b143-047a6d24610a}" ma:internalName="OSC_x0020_Branch" ma:showField="Branch" ma:web="28193ea4-f652-4388-b9f6-9af561e3c5f2">
      <xsd:simpleType>
        <xsd:restriction base="dms:Lookup"/>
      </xsd:simpleType>
    </xsd:element>
    <xsd:element name="OSC_x0020_Division" ma:index="79" nillable="true" ma:displayName="OSC Division" ma:list="{83521369-2559-4192-bec9-9e16fd9c55c4}" ma:internalName="OSC_x0020_Division" ma:showField="Division" ma:web="28193ea4-f652-4388-b9f6-9af561e3c5f2">
      <xsd:simpleType>
        <xsd:restriction base="dms:Lookup"/>
      </xsd:simpleType>
    </xsd:element>
    <xsd:element name="OSC_x0020_Section" ma:index="80" nillable="true" ma:displayName="OSC Section" ma:list="{a2cd217f-2145-4783-b8d1-ea89120e9e2d}" ma:internalName="OSC_x0020_Section" ma:showField="Section" ma:web="28193ea4-f652-4388-b9f6-9af561e3c5f2">
      <xsd:simpleType>
        <xsd:restriction base="dms:Lookup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EmailHeaders" ma:index="87" nillable="true" ma:displayName="E-Mail Headers" ma:hidden="true" ma:internalName="EmailHeaders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53D44D5-0161-4CF0-890A-47CC5E0927B3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sharepoint/v3"/>
    <ds:schemaRef ds:uri="717763FF-4060-4294-813E-AA05C69C312C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dcmitype/"/>
    <ds:schemaRef ds:uri="717763ff-4060-4294-813e-aa05c69c312c"/>
    <ds:schemaRef ds:uri="http://schemas.microsoft.com/sharepoint/v4"/>
    <ds:schemaRef ds:uri="28193ea4-f652-4388-b9f6-9af561e3c5f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385CE32-8D5B-448A-B554-DA3FF24937B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717763FF-4060-4294-813E-AA05C69C312C"/>
    <ds:schemaRef ds:uri="717763ff-4060-4294-813e-aa05c69c312c"/>
    <ds:schemaRef ds:uri="28193ea4-f652-4388-b9f6-9af561e3c5f2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2D09A03-FF56-4EBB-90A2-EF2770468A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309</TotalTime>
  <Words>1269</Words>
  <Application>Microsoft Macintosh PowerPoint</Application>
  <PresentationFormat>Widescreen</PresentationFormat>
  <Paragraphs>222</Paragraphs>
  <Slides>16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2" baseType="lpstr">
      <vt:lpstr>Arial</vt:lpstr>
      <vt:lpstr>Calibri</vt:lpstr>
      <vt:lpstr>Symbol</vt:lpstr>
      <vt:lpstr>Times New Roman</vt:lpstr>
      <vt:lpstr>1_Office Theme</vt:lpstr>
      <vt:lpstr>think-cell Slide</vt:lpstr>
      <vt:lpstr>  Development and Analytic Process Used to Create a 3-Dimensional Graphical User Interface System for Baggage Screening  September 2020  Charles McKee, Simone McKnight, &amp; Kevin Zish Presenter: Kevin Zish</vt:lpstr>
      <vt:lpstr>Disclaimer</vt:lpstr>
      <vt:lpstr>Creating a Common GUI</vt:lpstr>
      <vt:lpstr>Creating a Common GUI</vt:lpstr>
      <vt:lpstr>Step 1: Review</vt:lpstr>
      <vt:lpstr>Step 1: Review</vt:lpstr>
      <vt:lpstr>Step 2: Prototype &amp; Development</vt:lpstr>
      <vt:lpstr>Step 2: Prototype &amp; Development—Iteration 0</vt:lpstr>
      <vt:lpstr>Step 2: Prototype &amp; Development—Iteration 0</vt:lpstr>
      <vt:lpstr>Step 2: Prototype &amp; Development—Iteration 1-2</vt:lpstr>
      <vt:lpstr>Step 2: Prototype &amp; Development—Iteration 1-2</vt:lpstr>
      <vt:lpstr>Step 2: Prototype &amp; Development—Iteration 3</vt:lpstr>
      <vt:lpstr>Step 2: Prototype &amp; Development—Iteration 3</vt:lpstr>
      <vt:lpstr>Step 4-5: CGUI Iteration 3 </vt:lpstr>
      <vt:lpstr>Step 2: Prototype &amp; Development—Iteration 3</vt:lpstr>
      <vt:lpstr>Step 3: Develop Recommendations</vt:lpstr>
    </vt:vector>
  </TitlesOfParts>
  <Company>Transportation Security Administ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SC Internal PowerPoint Template</dc:title>
  <dc:creator>Jansen, Denise &lt;CTR&gt;</dc:creator>
  <cp:lastModifiedBy>Lena Moran</cp:lastModifiedBy>
  <cp:revision>1281</cp:revision>
  <cp:lastPrinted>2018-07-27T15:30:29Z</cp:lastPrinted>
  <dcterms:created xsi:type="dcterms:W3CDTF">2015-01-15T18:56:06Z</dcterms:created>
  <dcterms:modified xsi:type="dcterms:W3CDTF">2020-09-22T16:21:28Z</dcterms:modified>
</cp:coreProperties>
</file>